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media/image17.jpg" ContentType="image/png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73" r:id="rId3"/>
    <p:sldMasterId id="2147483675" r:id="rId4"/>
    <p:sldMasterId id="2147483687" r:id="rId5"/>
    <p:sldMasterId id="2147483779" r:id="rId6"/>
  </p:sldMasterIdLst>
  <p:notesMasterIdLst>
    <p:notesMasterId r:id="rId48"/>
  </p:notesMasterIdLst>
  <p:sldIdLst>
    <p:sldId id="256" r:id="rId7"/>
    <p:sldId id="257" r:id="rId8"/>
    <p:sldId id="262" r:id="rId9"/>
    <p:sldId id="260" r:id="rId10"/>
    <p:sldId id="322" r:id="rId11"/>
    <p:sldId id="268" r:id="rId12"/>
    <p:sldId id="374" r:id="rId13"/>
    <p:sldId id="267" r:id="rId14"/>
    <p:sldId id="323" r:id="rId15"/>
    <p:sldId id="325" r:id="rId16"/>
    <p:sldId id="326" r:id="rId17"/>
    <p:sldId id="358" r:id="rId18"/>
    <p:sldId id="327" r:id="rId19"/>
    <p:sldId id="360" r:id="rId20"/>
    <p:sldId id="363" r:id="rId21"/>
    <p:sldId id="362" r:id="rId22"/>
    <p:sldId id="365" r:id="rId23"/>
    <p:sldId id="366" r:id="rId24"/>
    <p:sldId id="367" r:id="rId25"/>
    <p:sldId id="368" r:id="rId26"/>
    <p:sldId id="369" r:id="rId27"/>
    <p:sldId id="371" r:id="rId28"/>
    <p:sldId id="330" r:id="rId29"/>
    <p:sldId id="376" r:id="rId30"/>
    <p:sldId id="375" r:id="rId31"/>
    <p:sldId id="377" r:id="rId32"/>
    <p:sldId id="378" r:id="rId33"/>
    <p:sldId id="379" r:id="rId34"/>
    <p:sldId id="380" r:id="rId35"/>
    <p:sldId id="381" r:id="rId36"/>
    <p:sldId id="382" r:id="rId37"/>
    <p:sldId id="383" r:id="rId38"/>
    <p:sldId id="384" r:id="rId39"/>
    <p:sldId id="385" r:id="rId40"/>
    <p:sldId id="386" r:id="rId41"/>
    <p:sldId id="387" r:id="rId42"/>
    <p:sldId id="388" r:id="rId43"/>
    <p:sldId id="389" r:id="rId44"/>
    <p:sldId id="390" r:id="rId45"/>
    <p:sldId id="373" r:id="rId46"/>
    <p:sldId id="259" r:id="rId47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63B1"/>
    <a:srgbClr val="D9D9D9"/>
    <a:srgbClr val="000000"/>
    <a:srgbClr val="FF7C80"/>
    <a:srgbClr val="3F3F3F"/>
    <a:srgbClr val="1A2442"/>
    <a:srgbClr val="35DF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4" autoAdjust="0"/>
    <p:restoredTop sz="89228" autoAdjust="0"/>
  </p:normalViewPr>
  <p:slideViewPr>
    <p:cSldViewPr snapToGrid="0">
      <p:cViewPr varScale="1">
        <p:scale>
          <a:sx n="83" d="100"/>
          <a:sy n="83" d="100"/>
        </p:scale>
        <p:origin x="796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091996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6277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478454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374006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0" name="Google Shape;23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72481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572693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74250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2" name="Google Shape;20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384191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99949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1" name="Google Shape;17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02692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676154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84886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5afc3cfbb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5afc3cfbb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884351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5afc3cfbb9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Google Shape;69;g5afc3cfbb9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148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57803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620987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g51a24c2a2d_3_16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g51a24c2a2d_3_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17437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buClrTx/>
              <a:buFontTx/>
              <a:buNone/>
              <a:defRPr/>
            </a:pPr>
            <a:fld id="{DB1E5408-B09E-4C66-95FF-F583AAE120E5}" type="slidenum">
              <a:rPr lang="en-US" sz="1200" kern="1200" smtClean="0">
                <a:solidFill>
                  <a:prstClr val="black"/>
                </a:solidFill>
                <a:latin typeface="Calibri" panose="020F0502020204030204"/>
                <a:ea typeface="+mn-ea"/>
              </a:rPr>
              <a:pPr algn="r">
                <a:buClrTx/>
                <a:buFontTx/>
                <a:buNone/>
                <a:defRPr/>
              </a:pPr>
              <a:t>7</a:t>
            </a:fld>
            <a:endParaRPr lang="en-US" sz="1200" kern="12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57271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87566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1367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5" name="Google Shape;22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64415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5060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0844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8600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4907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73055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1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2" name="Google Shape;72;p11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1964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18921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 txBox="1">
            <a:spLocks noGrp="1"/>
          </p:cNvSpPr>
          <p:nvPr>
            <p:ph type="title"/>
          </p:nvPr>
        </p:nvSpPr>
        <p:spPr>
          <a:xfrm rot="5400000">
            <a:off x="5350073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body" idx="1"/>
          </p:nvPr>
        </p:nvSpPr>
        <p:spPr>
          <a:xfrm rot="5400000">
            <a:off x="1349573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8494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6256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735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6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342900" lvl="0" indent="-257175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685800" lvl="1" indent="-238125">
              <a:spcBef>
                <a:spcPts val="1200"/>
              </a:spcBef>
              <a:spcAft>
                <a:spcPts val="0"/>
              </a:spcAft>
              <a:buSzPts val="1400"/>
              <a:buChar char="○"/>
              <a:defRPr/>
            </a:lvl2pPr>
            <a:lvl3pPr marL="1028700" lvl="2" indent="-238125">
              <a:spcBef>
                <a:spcPts val="1200"/>
              </a:spcBef>
              <a:spcAft>
                <a:spcPts val="0"/>
              </a:spcAft>
              <a:buSzPts val="1400"/>
              <a:buChar char="■"/>
              <a:defRPr/>
            </a:lvl3pPr>
            <a:lvl4pPr marL="1371600" lvl="3" indent="-238125">
              <a:spcBef>
                <a:spcPts val="1200"/>
              </a:spcBef>
              <a:spcAft>
                <a:spcPts val="0"/>
              </a:spcAft>
              <a:buSzPts val="1400"/>
              <a:buChar char="●"/>
              <a:defRPr/>
            </a:lvl4pPr>
            <a:lvl5pPr marL="1714500" lvl="4" indent="-238125">
              <a:spcBef>
                <a:spcPts val="1200"/>
              </a:spcBef>
              <a:spcAft>
                <a:spcPts val="0"/>
              </a:spcAft>
              <a:buSzPts val="1400"/>
              <a:buChar char="○"/>
              <a:defRPr/>
            </a:lvl5pPr>
            <a:lvl6pPr marL="2057400" lvl="5" indent="-238125">
              <a:spcBef>
                <a:spcPts val="1200"/>
              </a:spcBef>
              <a:spcAft>
                <a:spcPts val="0"/>
              </a:spcAft>
              <a:buSzPts val="1400"/>
              <a:buChar char="■"/>
              <a:defRPr/>
            </a:lvl6pPr>
            <a:lvl7pPr marL="2400300" lvl="6" indent="-238125">
              <a:spcBef>
                <a:spcPts val="1200"/>
              </a:spcBef>
              <a:spcAft>
                <a:spcPts val="0"/>
              </a:spcAft>
              <a:buSzPts val="1400"/>
              <a:buChar char="●"/>
              <a:defRPr/>
            </a:lvl7pPr>
            <a:lvl8pPr marL="2743200" lvl="7" indent="-238125">
              <a:spcBef>
                <a:spcPts val="1200"/>
              </a:spcBef>
              <a:spcAft>
                <a:spcPts val="0"/>
              </a:spcAft>
              <a:buSzPts val="1400"/>
              <a:buChar char="○"/>
              <a:defRPr/>
            </a:lvl8pPr>
            <a:lvl9pPr marL="3086100" lvl="8" indent="-238125">
              <a:spcBef>
                <a:spcPts val="1200"/>
              </a:spcBef>
              <a:spcAft>
                <a:spcPts val="12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5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356520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=""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63026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4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4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4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06382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4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4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9" name="Google Shape;269;p4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4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4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57167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43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43"/>
          <p:cNvSpPr txBox="1">
            <a:spLocks noGrp="1"/>
          </p:cNvSpPr>
          <p:nvPr>
            <p:ph type="body" idx="1"/>
          </p:nvPr>
        </p:nvSpPr>
        <p:spPr>
          <a:xfrm>
            <a:off x="623888" y="3442097"/>
            <a:ext cx="7886700" cy="1125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1800">
                <a:solidFill>
                  <a:srgbClr val="888888"/>
                </a:solidFill>
              </a:defRPr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1500">
                <a:solidFill>
                  <a:srgbClr val="888888"/>
                </a:solidFill>
              </a:defRPr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350">
                <a:solidFill>
                  <a:srgbClr val="888888"/>
                </a:solidFill>
              </a:defRPr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75" name="Google Shape;275;p4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4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7" name="Google Shape;277;p4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9959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44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" name="Google Shape;280;p44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38862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44"/>
          <p:cNvSpPr txBox="1">
            <a:spLocks noGrp="1"/>
          </p:cNvSpPr>
          <p:nvPr>
            <p:ph type="body" idx="2"/>
          </p:nvPr>
        </p:nvSpPr>
        <p:spPr>
          <a:xfrm>
            <a:off x="4629150" y="1369219"/>
            <a:ext cx="38862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2" name="Google Shape;282;p4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4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" name="Google Shape;284;p4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25770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45"/>
          <p:cNvSpPr txBox="1">
            <a:spLocks noGrp="1"/>
          </p:cNvSpPr>
          <p:nvPr>
            <p:ph type="title"/>
          </p:nvPr>
        </p:nvSpPr>
        <p:spPr>
          <a:xfrm>
            <a:off x="629841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45"/>
          <p:cNvSpPr txBox="1">
            <a:spLocks noGrp="1"/>
          </p:cNvSpPr>
          <p:nvPr>
            <p:ph type="body" idx="1"/>
          </p:nvPr>
        </p:nvSpPr>
        <p:spPr>
          <a:xfrm>
            <a:off x="629841" y="1260872"/>
            <a:ext cx="3868425" cy="61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288" name="Google Shape;288;p45"/>
          <p:cNvSpPr txBox="1">
            <a:spLocks noGrp="1"/>
          </p:cNvSpPr>
          <p:nvPr>
            <p:ph type="body" idx="2"/>
          </p:nvPr>
        </p:nvSpPr>
        <p:spPr>
          <a:xfrm>
            <a:off x="629841" y="1878806"/>
            <a:ext cx="3868425" cy="276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45"/>
          <p:cNvSpPr txBox="1">
            <a:spLocks noGrp="1"/>
          </p:cNvSpPr>
          <p:nvPr>
            <p:ph type="body" idx="3"/>
          </p:nvPr>
        </p:nvSpPr>
        <p:spPr>
          <a:xfrm>
            <a:off x="4629150" y="1260872"/>
            <a:ext cx="3887325" cy="61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290" name="Google Shape;290;p45"/>
          <p:cNvSpPr txBox="1">
            <a:spLocks noGrp="1"/>
          </p:cNvSpPr>
          <p:nvPr>
            <p:ph type="body" idx="4"/>
          </p:nvPr>
        </p:nvSpPr>
        <p:spPr>
          <a:xfrm>
            <a:off x="4629150" y="1878806"/>
            <a:ext cx="3887325" cy="276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" name="Google Shape;291;p4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4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4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70132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p46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" name="Google Shape;296;p4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4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41352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p47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075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" name="Google Shape;301;p47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150" cy="365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2pPr>
            <a:lvl3pPr marL="1028700" lvl="2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4pPr>
            <a:lvl5pPr marL="1714500" lvl="4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5pPr>
            <a:lvl6pPr marL="2057400" lvl="5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302" name="Google Shape;302;p47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075" cy="285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03" name="Google Shape;303;p4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4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" name="Google Shape;305;p4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82581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48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075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48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150" cy="365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9" name="Google Shape;309;p48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075" cy="285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10" name="Google Shape;310;p4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4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4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5501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p4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" name="Google Shape;315;p49"/>
          <p:cNvSpPr txBox="1">
            <a:spLocks noGrp="1"/>
          </p:cNvSpPr>
          <p:nvPr>
            <p:ph type="body" idx="1"/>
          </p:nvPr>
        </p:nvSpPr>
        <p:spPr>
          <a:xfrm rot="5400000">
            <a:off x="2940300" y="-942431"/>
            <a:ext cx="3263400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6" name="Google Shape;316;p4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" name="Google Shape;317;p4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4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42741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50"/>
          <p:cNvSpPr txBox="1">
            <a:spLocks noGrp="1"/>
          </p:cNvSpPr>
          <p:nvPr>
            <p:ph type="title"/>
          </p:nvPr>
        </p:nvSpPr>
        <p:spPr>
          <a:xfrm rot="5400000">
            <a:off x="5350050" y="1467469"/>
            <a:ext cx="4358925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50"/>
          <p:cNvSpPr txBox="1">
            <a:spLocks noGrp="1"/>
          </p:cNvSpPr>
          <p:nvPr>
            <p:ph type="body" idx="1"/>
          </p:nvPr>
        </p:nvSpPr>
        <p:spPr>
          <a:xfrm rot="5400000">
            <a:off x="1349550" y="-447056"/>
            <a:ext cx="4358925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5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5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5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2933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=""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=""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=""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1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475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=""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smtClean="0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=""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30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=""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3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6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0983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=""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3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>el </a:t>
            </a:r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=""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3" y="3639823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64251" y="4752977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8761" y="4589248"/>
            <a:ext cx="1346367" cy="267137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=""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5134782" y="1009524"/>
            <a:ext cx="1569938" cy="2773505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=""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=""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=""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=""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=""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6116089" y="1009524"/>
            <a:ext cx="1569938" cy="2773505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=""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=""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=""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=""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=""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7097397" y="1009524"/>
            <a:ext cx="1569938" cy="2773505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=""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=""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=""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=""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05735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91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=""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6" name="Forma libre 5">
            <a:extLst>
              <a:ext uri="{FF2B5EF4-FFF2-40B4-BE49-F238E27FC236}">
                <a16:creationId xmlns=""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7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199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8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=""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4" name="Rectángulo 4">
            <a:extLst>
              <a:ext uri="{FF2B5EF4-FFF2-40B4-BE49-F238E27FC236}">
                <a16:creationId xmlns=""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8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5" name="Rectángulo 8">
            <a:extLst>
              <a:ext uri="{FF2B5EF4-FFF2-40B4-BE49-F238E27FC236}">
                <a16:creationId xmlns=""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3994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40344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=""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41213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=""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114147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72486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544385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305620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840379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=""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11400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423604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950214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493168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365439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2065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93337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843137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=""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=""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 dirty="0">
              <a:solidFill>
                <a:srgbClr val="FFFFFF"/>
              </a:solidFill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=""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 smtClean="0"/>
              <a:t>Editar el subtitulo</a:t>
            </a: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55579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181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214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56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423">
              <a:buClrTx/>
              <a:buFontTx/>
              <a:buNone/>
              <a:defRPr/>
            </a:pPr>
            <a:fld id="{A5078871-D93F-4D40-B540-DC74CFDF655C}" type="slidenum">
              <a:rPr lang="es-ES" sz="800" smtClean="0">
                <a:solidFill>
                  <a:srgbClr val="1A3B47"/>
                </a:solidFill>
              </a:rPr>
              <a:pPr algn="r" defTabSz="685423">
                <a:buClrTx/>
                <a:buFontTx/>
                <a:buNone/>
                <a:defRPr/>
              </a:pPr>
              <a:t>‹#›</a:t>
            </a:fld>
            <a:endParaRPr lang="es-ES" sz="800" dirty="0">
              <a:solidFill>
                <a:srgbClr val="1A3B47"/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  <a:latin typeface="Soho Gothic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72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03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84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487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386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798" kern="1200">
              <a:solidFill>
                <a:srgbClr val="FFFFFF"/>
              </a:solidFill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58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0643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3720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0883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6089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8715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1503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4088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667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980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873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defTabSz="685343">
              <a:buClrTx/>
              <a:buFontTx/>
              <a:buNone/>
            </a:pPr>
            <a:endParaRPr lang="es-ES" sz="1798" kern="1200">
              <a:solidFill>
                <a:srgbClr val="1A3B47"/>
              </a:solidFill>
              <a:latin typeface="Soho Gothic Pro Light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0551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524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capítulo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52089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59533" y="2679762"/>
            <a:ext cx="5557145" cy="6915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</a:t>
            </a:r>
            <a:br>
              <a:rPr lang="es-ES" dirty="0" smtClean="0"/>
            </a:br>
            <a:r>
              <a:rPr lang="es-ES" dirty="0" smtClean="0"/>
              <a:t>estilo de título del patrón</a:t>
            </a:r>
            <a:endParaRPr lang="es-ES" dirty="0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2" y="927704"/>
            <a:ext cx="2990851" cy="77304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650">
                <a:solidFill>
                  <a:schemeClr val="tx1"/>
                </a:solidFill>
              </a:defRPr>
            </a:lvl1pPr>
            <a:lvl2pPr marL="339978" indent="0">
              <a:buNone/>
              <a:defRPr/>
            </a:lvl2pPr>
            <a:lvl3pPr marL="678491" indent="0">
              <a:buNone/>
              <a:defRPr/>
            </a:lvl3pPr>
            <a:lvl4pPr marL="1018469" indent="0">
              <a:buNone/>
              <a:defRPr/>
            </a:lvl4pPr>
            <a:lvl5pPr marL="1348187" indent="0">
              <a:buNone/>
              <a:defRPr/>
            </a:lvl5pPr>
          </a:lstStyle>
          <a:p>
            <a:pPr lvl="0"/>
            <a:r>
              <a:rPr lang="es-ES_tradnl" dirty="0" smtClean="0"/>
              <a:t>00</a:t>
            </a:r>
            <a:endParaRPr lang="es-ES" dirty="0"/>
          </a:p>
        </p:txBody>
      </p:sp>
      <p:sp>
        <p:nvSpPr>
          <p:cNvPr id="7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33" y="3780420"/>
            <a:ext cx="4343195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>
                <a:solidFill>
                  <a:schemeClr val="tx1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57622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>
          <a:xfrm>
            <a:off x="-11700" y="0"/>
            <a:ext cx="9155700" cy="1039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8532911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8539181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633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86189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-11700" y="0"/>
            <a:ext cx="1991412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43">
              <a:buClrTx/>
              <a:buFontTx/>
              <a:buNone/>
            </a:pPr>
            <a:endParaRPr lang="es-ES" sz="1349" kern="120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9569" y="368499"/>
            <a:ext cx="1566137" cy="475059"/>
          </a:xfrm>
          <a:prstGeom prst="rect">
            <a:avLst/>
          </a:prstGeom>
        </p:spPr>
        <p:txBody>
          <a:bodyPr/>
          <a:lstStyle>
            <a:lvl1pPr>
              <a:defRPr lang="es-ES" sz="1650" b="0" kern="1200" baseline="0" dirty="0">
                <a:solidFill>
                  <a:schemeClr val="bg1"/>
                </a:solidFill>
                <a:latin typeface="Soho Gothic Pro Light" panose="020B03030305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algn="l" defTabSz="633062" rtl="0" eaLnBrk="1" latinLnBrk="0" hangingPunct="1">
              <a:spcBef>
                <a:spcPct val="0"/>
              </a:spcBef>
              <a:buNone/>
              <a:tabLst>
                <a:tab pos="3362325" algn="l"/>
              </a:tabLst>
              <a:defRPr/>
            </a:pPr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59569" y="249492"/>
            <a:ext cx="1566137" cy="1414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s-ES" sz="750" kern="1200" dirty="0" smtClean="0">
                <a:solidFill>
                  <a:schemeClr val="bg1"/>
                </a:solidFill>
                <a:latin typeface="Playfair Display" panose="00000500000000000000" pitchFamily="2" charset="0"/>
                <a:ea typeface="+mn-ea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lvl="0" indent="0" algn="just" defTabSz="633062" rtl="0" eaLnBrk="1" latinLnBrk="0" hangingPunct="1">
              <a:spcBef>
                <a:spcPct val="20000"/>
              </a:spcBef>
              <a:buClr>
                <a:srgbClr val="3D3935">
                  <a:lumMod val="75000"/>
                </a:srgbClr>
              </a:buClr>
              <a:buFont typeface="Arial" pitchFamily="34" charset="0"/>
              <a:buNone/>
              <a:defRPr/>
            </a:pPr>
            <a:r>
              <a:rPr lang="es-ES" dirty="0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5657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9438" y="259984"/>
            <a:ext cx="8338038" cy="583574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486256" y="156006"/>
            <a:ext cx="8341223" cy="141480"/>
          </a:xfrm>
        </p:spPr>
        <p:txBody>
          <a:bodyPr anchor="ctr">
            <a:noAutofit/>
          </a:bodyPr>
          <a:lstStyle>
            <a:lvl1pPr marL="0" indent="0">
              <a:buNone/>
              <a:defRPr sz="900">
                <a:solidFill>
                  <a:schemeClr val="accent5"/>
                </a:solidFill>
                <a:latin typeface="Playfair Display" panose="00000500000000000000" pitchFamily="2" charset="0"/>
                <a:cs typeface="Playfair Display" panose="00000500000000000000" pitchFamily="2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7848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00">
        <p14:prism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im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261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999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67330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062" y="273911"/>
            <a:ext cx="8597901" cy="703421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73051" y="26616"/>
            <a:ext cx="6508750" cy="220891"/>
          </a:xfrm>
          <a:prstGeom prst="rect">
            <a:avLst/>
          </a:prstGeom>
          <a:noFill/>
        </p:spPr>
        <p:txBody>
          <a:bodyPr wrap="square" lIns="0" tIns="34289" rIns="68544" bIns="34289" rtlCol="0" anchor="ctr">
            <a:noAutofit/>
          </a:bodyPr>
          <a:lstStyle>
            <a:lvl1pPr>
              <a:defRPr lang="en-US" sz="825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050" dirty="0" smtClean="0">
                <a:solidFill>
                  <a:schemeClr val="tx1"/>
                </a:solidFill>
              </a:defRPr>
            </a:lvl3pPr>
            <a:lvl4pPr>
              <a:defRPr lang="en-US" sz="1050" dirty="0" smtClean="0">
                <a:solidFill>
                  <a:schemeClr val="tx1"/>
                </a:solidFill>
              </a:defRPr>
            </a:lvl4pPr>
            <a:lvl5pPr>
              <a:defRPr lang="en-US" sz="105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72901" y="742950"/>
            <a:ext cx="8610600" cy="342900"/>
          </a:xfrm>
          <a:prstGeom prst="rect">
            <a:avLst/>
          </a:prstGeom>
        </p:spPr>
        <p:txBody>
          <a:bodyPr lIns="68544" tIns="34289" rIns="68544" bIns="34289"/>
          <a:lstStyle>
            <a:lvl1pPr>
              <a:defRPr sz="1125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454658"/>
      </p:ext>
    </p:extLst>
  </p:cSld>
  <p:clrMapOvr>
    <a:masterClrMapping/>
  </p:clrMapOvr>
  <p:transition spd="slow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s-ES" sz="1800" kern="1200" dirty="0">
              <a:solidFill>
                <a:srgbClr val="FFFFFF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smtClean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=""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  <p:sp>
          <p:nvSpPr>
            <p:cNvPr id="11" name="Triángulo 10">
              <a:extLst>
                <a:ext uri="{FF2B5EF4-FFF2-40B4-BE49-F238E27FC236}">
                  <a16:creationId xmlns=""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43">
                <a:buClrTx/>
                <a:buFontTx/>
                <a:buNone/>
              </a:pPr>
              <a:endParaRPr lang="es-ES" sz="1798" kern="1200">
                <a:solidFill>
                  <a:srgbClr val="FFFFFF"/>
                </a:solidFill>
              </a:endParaRPr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  <a:buFontTx/>
              <a:buNone/>
            </a:pPr>
            <a:fld id="{A5078871-D93F-4D40-B540-DC74CFDF655C}" type="slidenum">
              <a:rPr lang="es-ES" sz="800" smtClean="0">
                <a:solidFill>
                  <a:srgbClr val="FFFFFF"/>
                </a:solidFill>
              </a:rPr>
              <a:pPr algn="r">
                <a:buClrTx/>
                <a:buFontTx/>
                <a:buNone/>
              </a:pPr>
              <a:t>‹#›</a:t>
            </a:fld>
            <a:endParaRPr lang="es-ES" sz="800" dirty="0">
              <a:solidFill>
                <a:srgbClr val="FFFFFF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717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3810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2611"/>
            <a:ext cx="7886700" cy="5542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9C65CE8-4186-4EF3-A508-A12E5E686468}"/>
              </a:ext>
            </a:extLst>
          </p:cNvPr>
          <p:cNvGrpSpPr/>
          <p:nvPr userDrawn="1"/>
        </p:nvGrpSpPr>
        <p:grpSpPr>
          <a:xfrm>
            <a:off x="9415915" y="1"/>
            <a:ext cx="1235642" cy="1362074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="" xmlns:a16="http://schemas.microsoft.com/office/drawing/2014/main" id="{0A32BB05-B08C-4D73-BFF9-25A2D9328D4D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>
                <a:buClrTx/>
                <a:buFontTx/>
                <a:buNone/>
              </a:pP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050" kern="12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050" b="1" kern="1200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pPr>
                <a:buClrTx/>
                <a:buFontTx/>
                <a:buNone/>
              </a:pPr>
              <a:endParaRPr lang="en-US" sz="1050" kern="1200">
                <a:solidFill>
                  <a:srgbClr val="F7931F">
                    <a:lumMod val="50000"/>
                  </a:srgbClr>
                </a:solidFill>
              </a:endParaRPr>
            </a:p>
            <a:p>
              <a:pPr>
                <a:buClrTx/>
                <a:buFontTx/>
                <a:buNone/>
              </a:pPr>
              <a:r>
                <a:rPr lang="en-US" sz="900" i="1" kern="1200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BC568985-A849-45B0-B77A-2F6998D822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049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65.xml"/><Relationship Id="rId42" Type="http://schemas.openxmlformats.org/officeDocument/2006/relationships/slideLayout" Target="../slideLayouts/slideLayout73.xml"/><Relationship Id="rId47" Type="http://schemas.openxmlformats.org/officeDocument/2006/relationships/slideLayout" Target="../slideLayouts/slideLayout78.xml"/><Relationship Id="rId50" Type="http://schemas.openxmlformats.org/officeDocument/2006/relationships/slideLayout" Target="../slideLayouts/slideLayout81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slideLayout" Target="../slideLayouts/slideLayout76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49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4" Type="http://schemas.openxmlformats.org/officeDocument/2006/relationships/slideLayout" Target="../slideLayouts/slideLayout75.xml"/><Relationship Id="rId52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slideLayout" Target="../slideLayouts/slideLayout74.xml"/><Relationship Id="rId48" Type="http://schemas.openxmlformats.org/officeDocument/2006/relationships/slideLayout" Target="../slideLayouts/slideLayout79.xml"/><Relationship Id="rId8" Type="http://schemas.openxmlformats.org/officeDocument/2006/relationships/slideLayout" Target="../slideLayouts/slideLayout39.xml"/><Relationship Id="rId51" Type="http://schemas.openxmlformats.org/officeDocument/2006/relationships/slideLayout" Target="../slideLayouts/slideLayout82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51.xml"/><Relationship Id="rId41" Type="http://schemas.openxmlformats.org/officeDocument/2006/relationships/slideLayout" Target="../slideLayouts/slideLayout7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3.xml"/><Relationship Id="rId4" Type="http://schemas.openxmlformats.org/officeDocument/2006/relationships/hyperlink" Target="http://www.presentationgo.com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F3F3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05483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67" r:id="rId4"/>
    <p:sldLayoutId id="2147483669" r:id="rId5"/>
    <p:sldLayoutId id="2147483670" r:id="rId6"/>
    <p:sldLayoutId id="2147483671" r:id="rId7"/>
    <p:sldLayoutId id="2147483672" r:id="rId8"/>
    <p:sldLayoutId id="2147483765" r:id="rId9"/>
    <p:sldLayoutId id="2147483781" r:id="rId10"/>
    <p:sldLayoutId id="2147483782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9525" y="5219701"/>
            <a:ext cx="1225015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3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213836" cy="482192"/>
            <a:chOff x="-2096383" y="21447"/>
            <a:chExt cx="1618448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4321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5240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0708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39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2" name="Google Shape;252;p39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3" name="Google Shape;253;p3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4" name="Google Shape;254;p3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5" name="Google Shape;255;p3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6117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431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  <p:sldLayoutId id="2147483729" r:id="rId42"/>
    <p:sldLayoutId id="2147483730" r:id="rId43"/>
    <p:sldLayoutId id="2147483731" r:id="rId44"/>
    <p:sldLayoutId id="2147483732" r:id="rId45"/>
    <p:sldLayoutId id="2147483733" r:id="rId46"/>
    <p:sldLayoutId id="2147483734" r:id="rId47"/>
    <p:sldLayoutId id="2147483735" r:id="rId48"/>
    <p:sldLayoutId id="2147483736" r:id="rId49"/>
    <p:sldLayoutId id="2147483737" r:id="rId50"/>
    <p:sldLayoutId id="2147483738" r:id="rId5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5">
          <p15:clr>
            <a:srgbClr val="F26B43"/>
          </p15:clr>
        </p15:guide>
        <p15:guide id="2" orient="horz" pos="4035">
          <p15:clr>
            <a:srgbClr val="F26B43"/>
          </p15:clr>
        </p15:guide>
        <p15:guide id="3" pos="3840">
          <p15:clr>
            <a:srgbClr val="F26B43"/>
          </p15:clr>
        </p15:guide>
        <p15:guide id="4" pos="7468">
          <p15:clr>
            <a:srgbClr val="F26B43"/>
          </p15:clr>
        </p15:guide>
        <p15:guide id="5" pos="212">
          <p15:clr>
            <a:srgbClr val="F26B43"/>
          </p15:clr>
        </p15:guide>
        <p15:guide id="6" orient="horz" pos="769">
          <p15:clr>
            <a:srgbClr val="F26B43"/>
          </p15:clr>
        </p15:guide>
        <p15:guide id="7" orient="horz" pos="3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22612"/>
            <a:ext cx="7886700" cy="554292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14401"/>
            <a:ext cx="7886700" cy="37183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29434"/>
            <a:ext cx="9144000" cy="414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8580" rtlCol="0" anchor="ctr"/>
          <a:lstStyle/>
          <a:p>
            <a:pPr algn="ctr">
              <a:buClrTx/>
              <a:buFontTx/>
              <a:buNone/>
              <a:defRPr/>
            </a:pP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2400" kern="1200" spc="113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2400" kern="1200" spc="113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68384" y="130191"/>
            <a:ext cx="277122" cy="428177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Tx/>
              <a:buFontTx/>
              <a:buNone/>
            </a:pPr>
            <a:endParaRPr lang="en-US" sz="1350" kern="12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241181" y="-12491"/>
            <a:ext cx="1180174" cy="482192"/>
            <a:chOff x="-2096383" y="21447"/>
            <a:chExt cx="1573565" cy="642922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915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91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ClrTx/>
                <a:buFontTx/>
                <a:buNone/>
              </a:pPr>
              <a:r>
                <a:rPr lang="en-US" sz="750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  <p:sp>
        <p:nvSpPr>
          <p:cNvPr id="18" name="Rectangle 17"/>
          <p:cNvSpPr/>
          <p:nvPr userDrawn="1"/>
        </p:nvSpPr>
        <p:spPr>
          <a:xfrm>
            <a:off x="-9526" y="5219701"/>
            <a:ext cx="1059906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  <a:buFontTx/>
              <a:buNone/>
            </a:pPr>
            <a:r>
              <a:rPr lang="en-US" sz="825" kern="1200" dirty="0">
                <a:solidFill>
                  <a:srgbClr val="555555"/>
                </a:solidFill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lang="en-US" sz="825" kern="1200" dirty="0">
                <a:solidFill>
                  <a:srgbClr val="A5CD28"/>
                </a:solidFill>
                <a:latin typeface="Open Sans" panose="020B0606030504020204" pitchFamily="34" charset="0"/>
                <a:ea typeface="+mn-ea"/>
                <a:cs typeface="+mn-cs"/>
                <a:hlinkClick r:id="rId4" tooltip="PresentationGo!"/>
              </a:rPr>
              <a:t>presentationgo.com</a:t>
            </a:r>
            <a:endParaRPr lang="en-US" sz="825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0620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700" b="1" kern="1200">
          <a:solidFill>
            <a:schemeClr val="bg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j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subTitle" idx="1"/>
          </p:nvPr>
        </p:nvSpPr>
        <p:spPr>
          <a:xfrm>
            <a:off x="1799300" y="2381207"/>
            <a:ext cx="5560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6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 Management</a:t>
            </a:r>
            <a:endParaRPr sz="26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les &amp; Responsibilities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46081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59;p14"/>
          <p:cNvSpPr txBox="1">
            <a:spLocks/>
          </p:cNvSpPr>
          <p:nvPr/>
        </p:nvSpPr>
        <p:spPr>
          <a:xfrm>
            <a:off x="39560" y="-3130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CI MATRIX</a:t>
            </a:r>
            <a:endParaRPr lang="en-US" sz="1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735404" y="912114"/>
            <a:ext cx="1584198" cy="7015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900" b="1" dirty="0">
                <a:solidFill>
                  <a:schemeClr val="tx1"/>
                </a:solidFill>
              </a:rPr>
              <a:t>Responsible</a:t>
            </a:r>
          </a:p>
          <a:p>
            <a:r>
              <a:rPr lang="en-PH" sz="825" dirty="0">
                <a:solidFill>
                  <a:schemeClr val="bg1">
                    <a:lumMod val="65000"/>
                  </a:schemeClr>
                </a:solidFill>
              </a:rPr>
              <a:t>The team member who does the work to complete the task.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735404" y="1678177"/>
            <a:ext cx="1584198" cy="8503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900" b="1" dirty="0">
                <a:solidFill>
                  <a:schemeClr val="tx1"/>
                </a:solidFill>
              </a:rPr>
              <a:t>Accountable</a:t>
            </a:r>
          </a:p>
          <a:p>
            <a:r>
              <a:rPr lang="en-PH" sz="825" dirty="0">
                <a:solidFill>
                  <a:schemeClr val="bg1">
                    <a:lumMod val="65000"/>
                  </a:schemeClr>
                </a:solidFill>
              </a:rPr>
              <a:t>The person who delegates work and provides final review on a task or deliverable before it’s deemed complete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735404" y="2597921"/>
            <a:ext cx="1584198" cy="7015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900" b="1" dirty="0">
                <a:solidFill>
                  <a:schemeClr val="tx1"/>
                </a:solidFill>
              </a:rPr>
              <a:t>Consulted</a:t>
            </a:r>
          </a:p>
          <a:p>
            <a:r>
              <a:rPr lang="en-PH" sz="825" dirty="0">
                <a:solidFill>
                  <a:schemeClr val="bg1">
                    <a:lumMod val="65000"/>
                  </a:schemeClr>
                </a:solidFill>
              </a:rPr>
              <a:t>People who provide input on a deliverable based on the impact on their work or their domain of expertise.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735404" y="3363984"/>
            <a:ext cx="1584198" cy="7015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PH" sz="900" b="1" dirty="0">
                <a:solidFill>
                  <a:schemeClr val="tx1"/>
                </a:solidFill>
              </a:rPr>
              <a:t>Informed</a:t>
            </a:r>
          </a:p>
          <a:p>
            <a:r>
              <a:rPr lang="en-PH" sz="825" dirty="0">
                <a:solidFill>
                  <a:schemeClr val="bg1">
                    <a:lumMod val="65000"/>
                  </a:schemeClr>
                </a:solidFill>
              </a:rPr>
              <a:t>People who need to be kept in the loop on the progress.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706195"/>
              </p:ext>
            </p:extLst>
          </p:nvPr>
        </p:nvGraphicFramePr>
        <p:xfrm>
          <a:off x="897470" y="2528521"/>
          <a:ext cx="5683252" cy="132241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42288"/>
                <a:gridCol w="1231921"/>
                <a:gridCol w="621710"/>
                <a:gridCol w="591821"/>
                <a:gridCol w="591821"/>
                <a:gridCol w="567897"/>
                <a:gridCol w="567897"/>
                <a:gridCol w="567897"/>
              </a:tblGrid>
              <a:tr h="256223"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cess</a:t>
                      </a:r>
                      <a:endParaRPr lang="en-PH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unction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velopment Team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  <a:r>
                        <a:rPr lang="en-PH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Owner</a:t>
                      </a:r>
                      <a:endParaRPr lang="en-PH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ead of Function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livery Manager</a:t>
                      </a:r>
                      <a:endParaRPr lang="en-PH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latform Manager</a:t>
                      </a:r>
                      <a:endParaRPr lang="en-PH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ead of RPA</a:t>
                      </a:r>
                    </a:p>
                  </a:txBody>
                  <a:tcPr marL="4763" marR="4763" marT="4763" marB="0" anchor="b"/>
                </a:tc>
              </a:tr>
              <a:tr h="26654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mand management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ol</a:t>
                      </a: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Development </a:t>
                      </a:r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ipeline)</a:t>
                      </a:r>
                    </a:p>
                  </a:txBody>
                  <a:tcPr marL="4763" marR="4763" marT="4763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siness Group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dependent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</a:tr>
              <a:tr h="266549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ared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</a:tr>
              <a:tr h="266549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omain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dicated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</a:tr>
              <a:tr h="266549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ared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</a:tr>
            </a:tbl>
          </a:graphicData>
        </a:graphic>
      </p:graphicFrame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915564"/>
              </p:ext>
            </p:extLst>
          </p:nvPr>
        </p:nvGraphicFramePr>
        <p:xfrm>
          <a:off x="897468" y="995536"/>
          <a:ext cx="5683254" cy="132241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046899"/>
                <a:gridCol w="1368686"/>
                <a:gridCol w="690731"/>
                <a:gridCol w="657525"/>
                <a:gridCol w="657525"/>
                <a:gridCol w="630944"/>
                <a:gridCol w="630944"/>
              </a:tblGrid>
              <a:tr h="256223"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cess</a:t>
                      </a:r>
                      <a:endParaRPr lang="en-PH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unction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velopment Team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  <a:r>
                        <a:rPr lang="en-PH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Owner</a:t>
                      </a:r>
                      <a:endParaRPr lang="en-PH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ead of Function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livery </a:t>
                      </a:r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nager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Head of RPA</a:t>
                      </a:r>
                    </a:p>
                  </a:txBody>
                  <a:tcPr marL="4763" marR="4763" marT="4763" marB="0" anchor="b"/>
                </a:tc>
              </a:tr>
              <a:tr h="26654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mand management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ol</a:t>
                      </a:r>
                    </a:p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Process definition pipeline)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siness Group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dependent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</a:tr>
              <a:tr h="266549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ared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</a:tr>
              <a:tr h="266549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omain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dicated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</a:tr>
              <a:tr h="266549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ared</a:t>
                      </a:r>
                      <a:endParaRPr lang="en-PH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PH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H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4763" marR="4763" marT="4763" marB="0" anchor="b"/>
                </a:tc>
              </a:tr>
            </a:tbl>
          </a:graphicData>
        </a:graphic>
      </p:graphicFrame>
      <p:sp>
        <p:nvSpPr>
          <p:cNvPr id="33" name="Rectangle 32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0843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1" y="2617712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145972" y="1739592"/>
            <a:ext cx="4914900" cy="2377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AND MANAGEMENT CONCEPTS </a:t>
            </a:r>
            <a:endParaRPr lang="en-US" sz="4950" b="1" kern="1200" dirty="0">
              <a:solidFill>
                <a:prstClr val="white">
                  <a:alpha val="49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7" t="7567" r="23836" b="8081"/>
          <a:stretch/>
        </p:blipFill>
        <p:spPr>
          <a:xfrm>
            <a:off x="325365" y="739727"/>
            <a:ext cx="3478232" cy="38245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Rectangle 9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60942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RSE OUTLINE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6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</p:grpSpPr>
        <p:sp>
          <p:nvSpPr>
            <p:cNvPr id="47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9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</p:grpSpPr>
          <p:grpSp>
            <p:nvGrpSpPr>
              <p:cNvPr id="50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52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53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3064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27"/>
          <p:cNvGrpSpPr/>
          <p:nvPr/>
        </p:nvGrpSpPr>
        <p:grpSpPr>
          <a:xfrm>
            <a:off x="176732" y="1055768"/>
            <a:ext cx="3518487" cy="1085758"/>
            <a:chOff x="1867748" y="1801573"/>
            <a:chExt cx="2664257" cy="1292661"/>
          </a:xfrm>
        </p:grpSpPr>
        <p:sp>
          <p:nvSpPr>
            <p:cNvPr id="174" name="Google Shape;174;p27"/>
            <p:cNvSpPr/>
            <p:nvPr/>
          </p:nvSpPr>
          <p:spPr>
            <a:xfrm>
              <a:off x="1867748" y="2170904"/>
              <a:ext cx="2664257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>
                <a:buClr>
                  <a:schemeClr val="bg1"/>
                </a:buClr>
              </a:pPr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mand Management Phases: </a:t>
              </a:r>
            </a:p>
            <a:p>
              <a:pPr marL="342900" indent="-342900" algn="r">
                <a:buClr>
                  <a:schemeClr val="bg1"/>
                </a:buClr>
                <a:buFont typeface="Wingdings" panose="05000000000000000000" pitchFamily="2" charset="2"/>
                <a:buChar char="q"/>
              </a:pPr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cess Definition Pipeline Prioritization </a:t>
              </a:r>
              <a:endParaRPr lang="en-US"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342900" indent="-342900" algn="r">
                <a:buClr>
                  <a:schemeClr val="bg1"/>
                </a:buClr>
                <a:buFont typeface="Wingdings" panose="05000000000000000000" pitchFamily="2" charset="2"/>
                <a:buChar char="q"/>
              </a:pPr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velopment Pipeline Prioritization</a:t>
              </a:r>
              <a:endParaRPr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7"/>
            <p:cNvSpPr/>
            <p:nvPr/>
          </p:nvSpPr>
          <p:spPr>
            <a:xfrm>
              <a:off x="2453263" y="1801573"/>
              <a:ext cx="2078742" cy="3576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>
                <a:buClr>
                  <a:schemeClr val="bg1"/>
                </a:buClr>
              </a:pPr>
              <a:r>
                <a:rPr lang="en-US" sz="135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AYERS</a:t>
              </a:r>
              <a:endParaRPr sz="13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76" name="Google Shape;176;p27"/>
          <p:cNvGrpSpPr/>
          <p:nvPr/>
        </p:nvGrpSpPr>
        <p:grpSpPr>
          <a:xfrm>
            <a:off x="99892" y="2980489"/>
            <a:ext cx="2568364" cy="1076681"/>
            <a:chOff x="1435374" y="1801572"/>
            <a:chExt cx="3096632" cy="1292662"/>
          </a:xfrm>
        </p:grpSpPr>
        <p:sp>
          <p:nvSpPr>
            <p:cNvPr id="177" name="Google Shape;177;p27"/>
            <p:cNvSpPr/>
            <p:nvPr/>
          </p:nvSpPr>
          <p:spPr>
            <a:xfrm>
              <a:off x="1867748" y="2170904"/>
              <a:ext cx="2664257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Calibri"/>
                </a:rPr>
                <a:t>Process score which is computed from the agreed criteria during planning.</a:t>
              </a:r>
              <a:endParaRPr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27"/>
            <p:cNvSpPr/>
            <p:nvPr/>
          </p:nvSpPr>
          <p:spPr>
            <a:xfrm>
              <a:off x="1435374" y="1801572"/>
              <a:ext cx="3096632" cy="4364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sz="135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IORITIZATION CRITERIA</a:t>
              </a:r>
              <a:endParaRPr sz="13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79" name="Google Shape;179;p27"/>
          <p:cNvGrpSpPr/>
          <p:nvPr/>
        </p:nvGrpSpPr>
        <p:grpSpPr>
          <a:xfrm>
            <a:off x="6545984" y="3030829"/>
            <a:ext cx="2767065" cy="1740956"/>
            <a:chOff x="8727978" y="4375610"/>
            <a:chExt cx="2664257" cy="1292662"/>
          </a:xfrm>
        </p:grpSpPr>
        <p:sp>
          <p:nvSpPr>
            <p:cNvPr id="180" name="Google Shape;180;p27"/>
            <p:cNvSpPr/>
            <p:nvPr/>
          </p:nvSpPr>
          <p:spPr>
            <a:xfrm>
              <a:off x="8727978" y="4744942"/>
              <a:ext cx="2664257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Calibri"/>
                </a:rPr>
                <a:t>Some processes may be bypassed in the Demand Management prioritization.</a:t>
              </a:r>
              <a:endParaRPr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27"/>
            <p:cNvSpPr/>
            <p:nvPr/>
          </p:nvSpPr>
          <p:spPr>
            <a:xfrm>
              <a:off x="8727978" y="4375610"/>
              <a:ext cx="1864613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CESS EXCEPTIONS</a:t>
              </a:r>
              <a:endParaRPr sz="13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2" name="Google Shape;182;p27"/>
          <p:cNvSpPr/>
          <p:nvPr/>
        </p:nvSpPr>
        <p:spPr>
          <a:xfrm rot="7349750">
            <a:off x="3493913" y="2131408"/>
            <a:ext cx="1123928" cy="553643"/>
          </a:xfrm>
          <a:prstGeom prst="homePlate">
            <a:avLst>
              <a:gd name="adj" fmla="val 44193"/>
            </a:avLst>
          </a:prstGeom>
          <a:gradFill>
            <a:gsLst>
              <a:gs pos="0">
                <a:srgbClr val="FFE697"/>
              </a:gs>
              <a:gs pos="46000">
                <a:srgbClr val="FEC409"/>
              </a:gs>
              <a:gs pos="100000">
                <a:srgbClr val="9773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8" name="Google Shape;188;p27"/>
          <p:cNvSpPr/>
          <p:nvPr/>
        </p:nvSpPr>
        <p:spPr>
          <a:xfrm>
            <a:off x="3844089" y="3320733"/>
            <a:ext cx="1123928" cy="553643"/>
          </a:xfrm>
          <a:prstGeom prst="homePlate">
            <a:avLst>
              <a:gd name="adj" fmla="val 44193"/>
            </a:avLst>
          </a:prstGeom>
          <a:gradFill>
            <a:gsLst>
              <a:gs pos="0">
                <a:srgbClr val="99DFFB"/>
              </a:gs>
              <a:gs pos="46000">
                <a:srgbClr val="0FB3F6"/>
              </a:gs>
              <a:gs pos="100000">
                <a:srgbClr val="05689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27"/>
          <p:cNvSpPr/>
          <p:nvPr/>
        </p:nvSpPr>
        <p:spPr>
          <a:xfrm rot="14344310">
            <a:off x="2831153" y="3019756"/>
            <a:ext cx="1124712" cy="112221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88900" sx="104999" sy="104999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" name="Google Shape;192;p27"/>
          <p:cNvSpPr/>
          <p:nvPr/>
        </p:nvSpPr>
        <p:spPr>
          <a:xfrm rot="14344310">
            <a:off x="2950959" y="3145882"/>
            <a:ext cx="881743" cy="884682"/>
          </a:xfrm>
          <a:prstGeom prst="ellipse">
            <a:avLst/>
          </a:prstGeom>
          <a:solidFill>
            <a:srgbClr val="68CFF9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" name="Google Shape;197;p27"/>
          <p:cNvSpPr/>
          <p:nvPr/>
        </p:nvSpPr>
        <p:spPr>
          <a:xfrm rot="-7273150">
            <a:off x="4664442" y="2456923"/>
            <a:ext cx="1123928" cy="553643"/>
          </a:xfrm>
          <a:prstGeom prst="homePlate">
            <a:avLst>
              <a:gd name="adj" fmla="val 44193"/>
            </a:avLst>
          </a:prstGeom>
          <a:gradFill>
            <a:gsLst>
              <a:gs pos="0">
                <a:srgbClr val="FE9E98"/>
              </a:gs>
              <a:gs pos="46000">
                <a:srgbClr val="FF1B0B"/>
              </a:gs>
              <a:gs pos="100000">
                <a:srgbClr val="980A0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" name="Google Shape;199;p27"/>
          <p:cNvSpPr/>
          <p:nvPr/>
        </p:nvSpPr>
        <p:spPr>
          <a:xfrm rot="6977100">
            <a:off x="5198326" y="3032909"/>
            <a:ext cx="1124712" cy="112221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88900" sx="104999" sy="104999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27"/>
          <p:cNvSpPr/>
          <p:nvPr/>
        </p:nvSpPr>
        <p:spPr>
          <a:xfrm rot="6977100">
            <a:off x="5319810" y="3151678"/>
            <a:ext cx="881743" cy="884682"/>
          </a:xfrm>
          <a:prstGeom prst="ellipse">
            <a:avLst/>
          </a:prstGeom>
          <a:solidFill>
            <a:srgbClr val="FF6F6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28248" y="987126"/>
            <a:ext cx="1124712" cy="1122218"/>
            <a:chOff x="4028248" y="987126"/>
            <a:chExt cx="1124712" cy="1122218"/>
          </a:xfrm>
        </p:grpSpPr>
        <p:sp>
          <p:nvSpPr>
            <p:cNvPr id="184" name="Google Shape;184;p27"/>
            <p:cNvSpPr/>
            <p:nvPr/>
          </p:nvSpPr>
          <p:spPr>
            <a:xfrm>
              <a:off x="4028248" y="987126"/>
              <a:ext cx="1124712" cy="112221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88900" sx="104999" sy="104999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27"/>
            <p:cNvSpPr/>
            <p:nvPr/>
          </p:nvSpPr>
          <p:spPr>
            <a:xfrm>
              <a:off x="4149733" y="1105894"/>
              <a:ext cx="881743" cy="884682"/>
            </a:xfrm>
            <a:prstGeom prst="ellipse">
              <a:avLst/>
            </a:prstGeom>
            <a:solidFill>
              <a:srgbClr val="FFDA63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4646" y="1290602"/>
              <a:ext cx="515266" cy="515266"/>
            </a:xfrm>
            <a:prstGeom prst="rect">
              <a:avLst/>
            </a:prstGeom>
          </p:spPr>
        </p:pic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490" y="3141356"/>
            <a:ext cx="879018" cy="8790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964" y="3269414"/>
            <a:ext cx="622902" cy="622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6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27"/>
          <p:cNvGrpSpPr/>
          <p:nvPr/>
        </p:nvGrpSpPr>
        <p:grpSpPr>
          <a:xfrm>
            <a:off x="1462287" y="1547547"/>
            <a:ext cx="3518487" cy="1085758"/>
            <a:chOff x="1867748" y="1801573"/>
            <a:chExt cx="2664257" cy="1292661"/>
          </a:xfrm>
        </p:grpSpPr>
        <p:sp>
          <p:nvSpPr>
            <p:cNvPr id="174" name="Google Shape;174;p27"/>
            <p:cNvSpPr/>
            <p:nvPr/>
          </p:nvSpPr>
          <p:spPr>
            <a:xfrm>
              <a:off x="1867748" y="2170904"/>
              <a:ext cx="2664257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>
                <a:buClr>
                  <a:schemeClr val="bg1"/>
                </a:buClr>
              </a:pPr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mand Management Phases: </a:t>
              </a:r>
            </a:p>
            <a:p>
              <a:pPr marL="342900" indent="-342900" algn="r">
                <a:buClr>
                  <a:schemeClr val="bg1"/>
                </a:buClr>
                <a:buFont typeface="Wingdings" panose="05000000000000000000" pitchFamily="2" charset="2"/>
                <a:buChar char="q"/>
              </a:pPr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cess Definition Pipeline Prioritization </a:t>
              </a:r>
              <a:endParaRPr lang="en-US"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342900" indent="-342900" algn="r">
                <a:buClr>
                  <a:schemeClr val="bg1"/>
                </a:buClr>
                <a:buFont typeface="Wingdings" panose="05000000000000000000" pitchFamily="2" charset="2"/>
                <a:buChar char="q"/>
              </a:pPr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velopment Pipeline Prioritization</a:t>
              </a:r>
              <a:endParaRPr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7"/>
            <p:cNvSpPr/>
            <p:nvPr/>
          </p:nvSpPr>
          <p:spPr>
            <a:xfrm>
              <a:off x="2453263" y="1801573"/>
              <a:ext cx="2078742" cy="3576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>
                <a:buClr>
                  <a:schemeClr val="bg1"/>
                </a:buClr>
              </a:pPr>
              <a:r>
                <a:rPr lang="en-US" sz="135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AYERS</a:t>
              </a:r>
              <a:endParaRPr sz="13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2" name="Google Shape;182;p27"/>
          <p:cNvSpPr/>
          <p:nvPr/>
        </p:nvSpPr>
        <p:spPr>
          <a:xfrm rot="7349750">
            <a:off x="6001235" y="3152519"/>
            <a:ext cx="1123928" cy="553643"/>
          </a:xfrm>
          <a:prstGeom prst="homePlate">
            <a:avLst>
              <a:gd name="adj" fmla="val 44193"/>
            </a:avLst>
          </a:prstGeom>
          <a:gradFill>
            <a:gsLst>
              <a:gs pos="0">
                <a:srgbClr val="FFE697"/>
              </a:gs>
              <a:gs pos="46000">
                <a:srgbClr val="FEC409"/>
              </a:gs>
              <a:gs pos="100000">
                <a:srgbClr val="9773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689251" y="1684425"/>
            <a:ext cx="1124712" cy="1122218"/>
            <a:chOff x="4028248" y="987126"/>
            <a:chExt cx="1124712" cy="1122218"/>
          </a:xfrm>
        </p:grpSpPr>
        <p:sp>
          <p:nvSpPr>
            <p:cNvPr id="184" name="Google Shape;184;p27"/>
            <p:cNvSpPr/>
            <p:nvPr/>
          </p:nvSpPr>
          <p:spPr>
            <a:xfrm>
              <a:off x="4028248" y="987126"/>
              <a:ext cx="1124712" cy="112221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88900" sx="104999" sy="104999" algn="ct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27"/>
            <p:cNvSpPr/>
            <p:nvPr/>
          </p:nvSpPr>
          <p:spPr>
            <a:xfrm>
              <a:off x="4149733" y="1105894"/>
              <a:ext cx="881743" cy="884682"/>
            </a:xfrm>
            <a:prstGeom prst="ellipse">
              <a:avLst/>
            </a:prstGeom>
            <a:solidFill>
              <a:srgbClr val="FFDA63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4646" y="1290602"/>
              <a:ext cx="515266" cy="515266"/>
            </a:xfrm>
            <a:prstGeom prst="rect">
              <a:avLst/>
            </a:prstGeom>
          </p:spPr>
        </p:pic>
      </p:grpSp>
      <p:sp>
        <p:nvSpPr>
          <p:cNvPr id="15" name="Rectangle 14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4017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8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7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" name="Google Shape;232;p29"/>
          <p:cNvGrpSpPr/>
          <p:nvPr/>
        </p:nvGrpSpPr>
        <p:grpSpPr>
          <a:xfrm>
            <a:off x="679030" y="1035619"/>
            <a:ext cx="3467631" cy="548532"/>
            <a:chOff x="925071" y="1808573"/>
            <a:chExt cx="3990591" cy="731400"/>
          </a:xfrm>
        </p:grpSpPr>
        <p:sp>
          <p:nvSpPr>
            <p:cNvPr id="233" name="Google Shape;233;p29"/>
            <p:cNvSpPr/>
            <p:nvPr/>
          </p:nvSpPr>
          <p:spPr>
            <a:xfrm>
              <a:off x="925071" y="1808573"/>
              <a:ext cx="759600" cy="7314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10800000" algn="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1</a:t>
              </a:r>
              <a:endParaRPr sz="105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34" name="Google Shape;234;p29"/>
            <p:cNvSpPr/>
            <p:nvPr/>
          </p:nvSpPr>
          <p:spPr>
            <a:xfrm>
              <a:off x="1794546" y="1851161"/>
              <a:ext cx="3121116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lvl="1"/>
              <a:r>
                <a:rPr lang="en-US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mpleted Initial </a:t>
              </a:r>
              <a:r>
                <a:rPr lang="en-US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cess Assessment (IPA) Questionnaire</a:t>
              </a:r>
              <a:endParaRPr lang="en-PH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35" name="Google Shape;235;p29"/>
          <p:cNvGrpSpPr/>
          <p:nvPr/>
        </p:nvGrpSpPr>
        <p:grpSpPr>
          <a:xfrm>
            <a:off x="679032" y="1931288"/>
            <a:ext cx="3047783" cy="548550"/>
            <a:chOff x="925072" y="2967099"/>
            <a:chExt cx="4063710" cy="731400"/>
          </a:xfrm>
        </p:grpSpPr>
        <p:sp>
          <p:nvSpPr>
            <p:cNvPr id="236" name="Google Shape;236;p29"/>
            <p:cNvSpPr/>
            <p:nvPr/>
          </p:nvSpPr>
          <p:spPr>
            <a:xfrm>
              <a:off x="925072" y="2967099"/>
              <a:ext cx="792600" cy="7314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10800000" algn="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2</a:t>
              </a:r>
              <a:endParaRPr sz="105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37" name="Google Shape;237;p29"/>
            <p:cNvSpPr/>
            <p:nvPr/>
          </p:nvSpPr>
          <p:spPr>
            <a:xfrm>
              <a:off x="1794544" y="3009701"/>
              <a:ext cx="3194238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alculated Process Complexity</a:t>
              </a:r>
              <a:endParaRPr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8" name="Google Shape;238;p29"/>
          <p:cNvGrpSpPr/>
          <p:nvPr/>
        </p:nvGrpSpPr>
        <p:grpSpPr>
          <a:xfrm>
            <a:off x="679032" y="2826975"/>
            <a:ext cx="3047783" cy="548550"/>
            <a:chOff x="925071" y="4125650"/>
            <a:chExt cx="4063711" cy="731400"/>
          </a:xfrm>
        </p:grpSpPr>
        <p:sp>
          <p:nvSpPr>
            <p:cNvPr id="239" name="Google Shape;239;p29"/>
            <p:cNvSpPr/>
            <p:nvPr/>
          </p:nvSpPr>
          <p:spPr>
            <a:xfrm>
              <a:off x="925071" y="4125650"/>
              <a:ext cx="743100" cy="7314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10800000" algn="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3</a:t>
              </a:r>
              <a:endParaRPr sz="105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40" name="Google Shape;240;p29"/>
            <p:cNvSpPr/>
            <p:nvPr/>
          </p:nvSpPr>
          <p:spPr>
            <a:xfrm>
              <a:off x="1794544" y="4168241"/>
              <a:ext cx="3194238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alculated ROI</a:t>
              </a:r>
              <a:endParaRPr lang="en-PH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41" name="Google Shape;241;p29"/>
          <p:cNvGrpSpPr/>
          <p:nvPr/>
        </p:nvGrpSpPr>
        <p:grpSpPr>
          <a:xfrm>
            <a:off x="679032" y="3722644"/>
            <a:ext cx="3047783" cy="548550"/>
            <a:chOff x="925072" y="5284176"/>
            <a:chExt cx="4063710" cy="731400"/>
          </a:xfrm>
        </p:grpSpPr>
        <p:sp>
          <p:nvSpPr>
            <p:cNvPr id="242" name="Google Shape;242;p29"/>
            <p:cNvSpPr/>
            <p:nvPr/>
          </p:nvSpPr>
          <p:spPr>
            <a:xfrm>
              <a:off x="925072" y="5284176"/>
              <a:ext cx="792600" cy="7314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4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10800000" algn="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4</a:t>
              </a:r>
              <a:endParaRPr sz="105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43" name="Google Shape;243;p29"/>
            <p:cNvSpPr/>
            <p:nvPr/>
          </p:nvSpPr>
          <p:spPr>
            <a:xfrm>
              <a:off x="1794544" y="5326780"/>
              <a:ext cx="3194238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lvl="1"/>
              <a:r>
                <a:rPr lang="en-US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pproved Initial Business Case</a:t>
              </a:r>
              <a:endParaRPr lang="en-PH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244" name="Google Shape;244;p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46661" y="1287375"/>
            <a:ext cx="4757738" cy="24860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extBox 1"/>
          <p:cNvSpPr txBox="1"/>
          <p:nvPr/>
        </p:nvSpPr>
        <p:spPr>
          <a:xfrm>
            <a:off x="4249271" y="4011066"/>
            <a:ext cx="449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H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cess Definition Pipeline Prioritization</a:t>
            </a:r>
            <a:endParaRPr lang="en-PH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Google Shape;59;p14"/>
          <p:cNvSpPr txBox="1">
            <a:spLocks/>
          </p:cNvSpPr>
          <p:nvPr/>
        </p:nvSpPr>
        <p:spPr>
          <a:xfrm>
            <a:off x="39560" y="19922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REQUIREMENTS</a:t>
            </a:r>
            <a:endParaRPr lang="en-US" sz="1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16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" name="Google Shape;266;p26"/>
          <p:cNvGrpSpPr/>
          <p:nvPr/>
        </p:nvGrpSpPr>
        <p:grpSpPr>
          <a:xfrm>
            <a:off x="2492680" y="1285875"/>
            <a:ext cx="4130066" cy="3044702"/>
            <a:chOff x="3321987" y="1714501"/>
            <a:chExt cx="5506754" cy="4059604"/>
          </a:xfrm>
        </p:grpSpPr>
        <p:sp>
          <p:nvSpPr>
            <p:cNvPr id="267" name="Google Shape;267;p26"/>
            <p:cNvSpPr/>
            <p:nvPr/>
          </p:nvSpPr>
          <p:spPr>
            <a:xfrm rot="16200000" flipH="1">
              <a:off x="4158605" y="3244543"/>
              <a:ext cx="923383" cy="1014421"/>
            </a:xfrm>
            <a:custGeom>
              <a:avLst/>
              <a:gdLst/>
              <a:ahLst/>
              <a:cxnLst/>
              <a:rect l="l" t="t" r="r" b="b"/>
              <a:pathLst>
                <a:path w="864096" h="1512168" extrusionOk="0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8" name="Google Shape;268;p26"/>
            <p:cNvSpPr/>
            <p:nvPr/>
          </p:nvSpPr>
          <p:spPr>
            <a:xfrm rot="13759117" flipH="1">
              <a:off x="4556756" y="4231974"/>
              <a:ext cx="923383" cy="1014421"/>
            </a:xfrm>
            <a:custGeom>
              <a:avLst/>
              <a:gdLst/>
              <a:ahLst/>
              <a:cxnLst/>
              <a:rect l="l" t="t" r="r" b="b"/>
              <a:pathLst>
                <a:path w="864096" h="1512168" extrusionOk="0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Google Shape;269;p26"/>
            <p:cNvSpPr/>
            <p:nvPr/>
          </p:nvSpPr>
          <p:spPr>
            <a:xfrm rot="18640883">
              <a:off x="4556756" y="2242211"/>
              <a:ext cx="923383" cy="1014421"/>
            </a:xfrm>
            <a:custGeom>
              <a:avLst/>
              <a:gdLst/>
              <a:ahLst/>
              <a:cxnLst/>
              <a:rect l="l" t="t" r="r" b="b"/>
              <a:pathLst>
                <a:path w="864096" h="1512168" extrusionOk="0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26"/>
            <p:cNvSpPr/>
            <p:nvPr/>
          </p:nvSpPr>
          <p:spPr>
            <a:xfrm flipH="1">
              <a:off x="3321987" y="3181271"/>
              <a:ext cx="1122891" cy="112289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26"/>
            <p:cNvSpPr/>
            <p:nvPr/>
          </p:nvSpPr>
          <p:spPr>
            <a:xfrm flipH="1">
              <a:off x="3892314" y="4651213"/>
              <a:ext cx="1122891" cy="112289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" name="Google Shape;272;p26"/>
            <p:cNvSpPr/>
            <p:nvPr/>
          </p:nvSpPr>
          <p:spPr>
            <a:xfrm>
              <a:off x="3892314" y="1714501"/>
              <a:ext cx="1122891" cy="112289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" name="Google Shape;273;p26"/>
            <p:cNvSpPr/>
            <p:nvPr/>
          </p:nvSpPr>
          <p:spPr>
            <a:xfrm flipH="1">
              <a:off x="3447787" y="3307063"/>
              <a:ext cx="871307" cy="871307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26"/>
            <p:cNvSpPr/>
            <p:nvPr/>
          </p:nvSpPr>
          <p:spPr>
            <a:xfrm flipH="1">
              <a:off x="4018113" y="4777005"/>
              <a:ext cx="871307" cy="871307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5" name="Google Shape;275;p26"/>
            <p:cNvSpPr/>
            <p:nvPr/>
          </p:nvSpPr>
          <p:spPr>
            <a:xfrm>
              <a:off x="4018113" y="1840292"/>
              <a:ext cx="871307" cy="871307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6" name="Google Shape;276;p26"/>
            <p:cNvSpPr/>
            <p:nvPr/>
          </p:nvSpPr>
          <p:spPr>
            <a:xfrm rot="5400000">
              <a:off x="7068741" y="3244543"/>
              <a:ext cx="923383" cy="1014421"/>
            </a:xfrm>
            <a:custGeom>
              <a:avLst/>
              <a:gdLst/>
              <a:ahLst/>
              <a:cxnLst/>
              <a:rect l="l" t="t" r="r" b="b"/>
              <a:pathLst>
                <a:path w="864096" h="1512168" extrusionOk="0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7" name="Google Shape;277;p26"/>
            <p:cNvSpPr/>
            <p:nvPr/>
          </p:nvSpPr>
          <p:spPr>
            <a:xfrm rot="7840883">
              <a:off x="6670590" y="4231974"/>
              <a:ext cx="923383" cy="1014421"/>
            </a:xfrm>
            <a:custGeom>
              <a:avLst/>
              <a:gdLst/>
              <a:ahLst/>
              <a:cxnLst/>
              <a:rect l="l" t="t" r="r" b="b"/>
              <a:pathLst>
                <a:path w="864096" h="1512168" extrusionOk="0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rgbClr val="7B7B7B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" name="Google Shape;278;p26"/>
            <p:cNvSpPr/>
            <p:nvPr/>
          </p:nvSpPr>
          <p:spPr>
            <a:xfrm rot="2959117" flipH="1">
              <a:off x="6670590" y="2242211"/>
              <a:ext cx="923383" cy="1014421"/>
            </a:xfrm>
            <a:custGeom>
              <a:avLst/>
              <a:gdLst/>
              <a:ahLst/>
              <a:cxnLst/>
              <a:rect l="l" t="t" r="r" b="b"/>
              <a:pathLst>
                <a:path w="864096" h="1512168" extrusionOk="0">
                  <a:moveTo>
                    <a:pt x="0" y="0"/>
                  </a:moveTo>
                  <a:lnTo>
                    <a:pt x="864096" y="0"/>
                  </a:lnTo>
                  <a:cubicBezTo>
                    <a:pt x="864030" y="251453"/>
                    <a:pt x="516626" y="503088"/>
                    <a:pt x="516560" y="754541"/>
                  </a:cubicBezTo>
                  <a:cubicBezTo>
                    <a:pt x="516626" y="1007144"/>
                    <a:pt x="864030" y="1259565"/>
                    <a:pt x="864096" y="1512168"/>
                  </a:cubicBezTo>
                  <a:lnTo>
                    <a:pt x="0" y="1512168"/>
                  </a:lnTo>
                  <a:cubicBezTo>
                    <a:pt x="398" y="1262074"/>
                    <a:pt x="338358" y="1006868"/>
                    <a:pt x="338756" y="756774"/>
                  </a:cubicBezTo>
                  <a:cubicBezTo>
                    <a:pt x="338358" y="502812"/>
                    <a:pt x="398" y="253962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26"/>
            <p:cNvSpPr/>
            <p:nvPr/>
          </p:nvSpPr>
          <p:spPr>
            <a:xfrm>
              <a:off x="7705850" y="3181271"/>
              <a:ext cx="1122891" cy="112289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26"/>
            <p:cNvSpPr/>
            <p:nvPr/>
          </p:nvSpPr>
          <p:spPr>
            <a:xfrm>
              <a:off x="7135522" y="4651213"/>
              <a:ext cx="1122891" cy="1122892"/>
            </a:xfrm>
            <a:prstGeom prst="ellipse">
              <a:avLst/>
            </a:prstGeom>
            <a:solidFill>
              <a:srgbClr val="7B7B7B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26"/>
            <p:cNvSpPr/>
            <p:nvPr/>
          </p:nvSpPr>
          <p:spPr>
            <a:xfrm flipH="1">
              <a:off x="7135522" y="1714501"/>
              <a:ext cx="1122891" cy="112289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26"/>
            <p:cNvSpPr/>
            <p:nvPr/>
          </p:nvSpPr>
          <p:spPr>
            <a:xfrm>
              <a:off x="7831651" y="3307063"/>
              <a:ext cx="871307" cy="871307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" name="Google Shape;283;p26"/>
            <p:cNvSpPr/>
            <p:nvPr/>
          </p:nvSpPr>
          <p:spPr>
            <a:xfrm>
              <a:off x="7261323" y="4777005"/>
              <a:ext cx="871307" cy="871307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4" name="Google Shape;284;p26"/>
            <p:cNvSpPr/>
            <p:nvPr/>
          </p:nvSpPr>
          <p:spPr>
            <a:xfrm flipH="1">
              <a:off x="7261323" y="1840292"/>
              <a:ext cx="871307" cy="871307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26"/>
            <p:cNvSpPr/>
            <p:nvPr/>
          </p:nvSpPr>
          <p:spPr>
            <a:xfrm>
              <a:off x="4896563" y="2537580"/>
              <a:ext cx="2410272" cy="2410272"/>
            </a:xfrm>
            <a:prstGeom prst="ellipse">
              <a:avLst/>
            </a:prstGeom>
            <a:solidFill>
              <a:srgbClr val="595959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26"/>
            <p:cNvSpPr/>
            <p:nvPr/>
          </p:nvSpPr>
          <p:spPr>
            <a:xfrm>
              <a:off x="5028868" y="2669884"/>
              <a:ext cx="2145663" cy="2145664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>
              <a:outerShdw blurRad="114300" dist="114300" dir="4800000" algn="tl" rotWithShape="0">
                <a:srgbClr val="000000">
                  <a:alpha val="28627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80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87" name="Google Shape;287;p26"/>
            <p:cNvGrpSpPr/>
            <p:nvPr/>
          </p:nvGrpSpPr>
          <p:grpSpPr>
            <a:xfrm>
              <a:off x="4200957" y="2023875"/>
              <a:ext cx="505620" cy="504143"/>
              <a:chOff x="1033463" y="3025776"/>
              <a:chExt cx="2719388" cy="2711450"/>
            </a:xfrm>
          </p:grpSpPr>
          <p:sp>
            <p:nvSpPr>
              <p:cNvPr id="288" name="Google Shape;288;p26"/>
              <p:cNvSpPr/>
              <p:nvPr/>
            </p:nvSpPr>
            <p:spPr>
              <a:xfrm>
                <a:off x="2870201" y="4857751"/>
                <a:ext cx="792163" cy="787400"/>
              </a:xfrm>
              <a:custGeom>
                <a:avLst/>
                <a:gdLst/>
                <a:ahLst/>
                <a:cxnLst/>
                <a:rect l="l" t="t" r="r" b="b"/>
                <a:pathLst>
                  <a:path w="367" h="366" extrusionOk="0">
                    <a:moveTo>
                      <a:pt x="346" y="273"/>
                    </a:moveTo>
                    <a:cubicBezTo>
                      <a:pt x="367" y="293"/>
                      <a:pt x="367" y="326"/>
                      <a:pt x="346" y="346"/>
                    </a:cubicBezTo>
                    <a:cubicBezTo>
                      <a:pt x="326" y="366"/>
                      <a:pt x="294" y="366"/>
                      <a:pt x="273" y="346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346" y="273"/>
                    </a:lnTo>
                    <a:close/>
                    <a:moveTo>
                      <a:pt x="346" y="273"/>
                    </a:moveTo>
                    <a:cubicBezTo>
                      <a:pt x="346" y="273"/>
                      <a:pt x="346" y="273"/>
                      <a:pt x="346" y="273"/>
                    </a:cubicBezTo>
                  </a:path>
                </a:pathLst>
              </a:custGeom>
              <a:solidFill>
                <a:srgbClr val="D8D8D8"/>
              </a:solidFill>
              <a:ln w="38100" cap="flat" cmpd="sng">
                <a:solidFill>
                  <a:srgbClr val="D8D8D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89" name="Google Shape;289;p26"/>
              <p:cNvGrpSpPr/>
              <p:nvPr/>
            </p:nvGrpSpPr>
            <p:grpSpPr>
              <a:xfrm>
                <a:off x="1235076" y="3224213"/>
                <a:ext cx="1771650" cy="1770063"/>
                <a:chOff x="1235076" y="3224213"/>
                <a:chExt cx="1771650" cy="1770063"/>
              </a:xfrm>
            </p:grpSpPr>
            <p:sp>
              <p:nvSpPr>
                <p:cNvPr id="290" name="Google Shape;290;p26"/>
                <p:cNvSpPr/>
                <p:nvPr/>
              </p:nvSpPr>
              <p:spPr>
                <a:xfrm>
                  <a:off x="1235076" y="3224213"/>
                  <a:ext cx="1771650" cy="17700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2" h="823" extrusionOk="0">
                      <a:moveTo>
                        <a:pt x="702" y="121"/>
                      </a:moveTo>
                      <a:cubicBezTo>
                        <a:pt x="779" y="199"/>
                        <a:pt x="822" y="302"/>
                        <a:pt x="822" y="412"/>
                      </a:cubicBezTo>
                      <a:cubicBezTo>
                        <a:pt x="822" y="521"/>
                        <a:pt x="779" y="625"/>
                        <a:pt x="702" y="702"/>
                      </a:cubicBezTo>
                      <a:cubicBezTo>
                        <a:pt x="624" y="780"/>
                        <a:pt x="521" y="823"/>
                        <a:pt x="411" y="823"/>
                      </a:cubicBezTo>
                      <a:cubicBezTo>
                        <a:pt x="301" y="823"/>
                        <a:pt x="198" y="780"/>
                        <a:pt x="120" y="702"/>
                      </a:cubicBezTo>
                      <a:cubicBezTo>
                        <a:pt x="43" y="625"/>
                        <a:pt x="0" y="521"/>
                        <a:pt x="0" y="412"/>
                      </a:cubicBezTo>
                      <a:cubicBezTo>
                        <a:pt x="0" y="302"/>
                        <a:pt x="43" y="199"/>
                        <a:pt x="120" y="121"/>
                      </a:cubicBezTo>
                      <a:cubicBezTo>
                        <a:pt x="198" y="43"/>
                        <a:pt x="301" y="0"/>
                        <a:pt x="411" y="0"/>
                      </a:cubicBezTo>
                      <a:cubicBezTo>
                        <a:pt x="521" y="0"/>
                        <a:pt x="624" y="43"/>
                        <a:pt x="702" y="121"/>
                      </a:cubicBezTo>
                      <a:close/>
                      <a:moveTo>
                        <a:pt x="772" y="412"/>
                      </a:moveTo>
                      <a:cubicBezTo>
                        <a:pt x="772" y="315"/>
                        <a:pt x="734" y="225"/>
                        <a:pt x="666" y="157"/>
                      </a:cubicBezTo>
                      <a:cubicBezTo>
                        <a:pt x="598" y="89"/>
                        <a:pt x="507" y="51"/>
                        <a:pt x="411" y="51"/>
                      </a:cubicBezTo>
                      <a:cubicBezTo>
                        <a:pt x="315" y="51"/>
                        <a:pt x="224" y="89"/>
                        <a:pt x="156" y="157"/>
                      </a:cubicBezTo>
                      <a:cubicBezTo>
                        <a:pt x="88" y="225"/>
                        <a:pt x="50" y="315"/>
                        <a:pt x="50" y="412"/>
                      </a:cubicBezTo>
                      <a:cubicBezTo>
                        <a:pt x="50" y="508"/>
                        <a:pt x="88" y="599"/>
                        <a:pt x="156" y="667"/>
                      </a:cubicBezTo>
                      <a:cubicBezTo>
                        <a:pt x="224" y="735"/>
                        <a:pt x="315" y="772"/>
                        <a:pt x="411" y="772"/>
                      </a:cubicBezTo>
                      <a:cubicBezTo>
                        <a:pt x="507" y="772"/>
                        <a:pt x="598" y="735"/>
                        <a:pt x="666" y="667"/>
                      </a:cubicBezTo>
                      <a:cubicBezTo>
                        <a:pt x="734" y="599"/>
                        <a:pt x="772" y="508"/>
                        <a:pt x="772" y="412"/>
                      </a:cubicBezTo>
                      <a:close/>
                      <a:moveTo>
                        <a:pt x="772" y="412"/>
                      </a:moveTo>
                      <a:cubicBezTo>
                        <a:pt x="772" y="412"/>
                        <a:pt x="772" y="412"/>
                        <a:pt x="772" y="412"/>
                      </a:cubicBezTo>
                    </a:path>
                  </a:pathLst>
                </a:custGeom>
                <a:solidFill>
                  <a:schemeClr val="accent1"/>
                </a:solidFill>
                <a:ln w="19050" cap="flat" cmpd="sng">
                  <a:solidFill>
                    <a:schemeClr val="accent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/>
                <a:p>
                  <a:endParaRPr sz="1800">
                    <a:solidFill>
                      <a:schemeClr val="dk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1" name="Google Shape;291;p26"/>
                <p:cNvSpPr/>
                <p:nvPr/>
              </p:nvSpPr>
              <p:spPr>
                <a:xfrm>
                  <a:off x="2803526" y="4789488"/>
                  <a:ext cx="88900" cy="904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" h="42" extrusionOk="0">
                      <a:moveTo>
                        <a:pt x="41" y="26"/>
                      </a:moveTo>
                      <a:cubicBezTo>
                        <a:pt x="26" y="42"/>
                        <a:pt x="26" y="42"/>
                        <a:pt x="26" y="42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2" y="14"/>
                        <a:pt x="5" y="11"/>
                        <a:pt x="8" y="8"/>
                      </a:cubicBezTo>
                      <a:cubicBezTo>
                        <a:pt x="10" y="6"/>
                        <a:pt x="13" y="3"/>
                        <a:pt x="16" y="0"/>
                      </a:cubicBezTo>
                      <a:lnTo>
                        <a:pt x="41" y="26"/>
                      </a:lnTo>
                      <a:close/>
                      <a:moveTo>
                        <a:pt x="41" y="26"/>
                      </a:moveTo>
                      <a:cubicBezTo>
                        <a:pt x="41" y="26"/>
                        <a:pt x="41" y="26"/>
                        <a:pt x="41" y="26"/>
                      </a:cubicBezTo>
                    </a:path>
                  </a:pathLst>
                </a:custGeom>
                <a:solidFill>
                  <a:schemeClr val="accent1"/>
                </a:solidFill>
                <a:ln w="19050" cap="flat" cmpd="sng">
                  <a:solidFill>
                    <a:schemeClr val="accent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68569" tIns="34275" rIns="68569" bIns="34275" anchor="t" anchorCtr="0">
                  <a:noAutofit/>
                </a:bodyPr>
                <a:lstStyle/>
                <a:p>
                  <a:endParaRPr sz="1800">
                    <a:solidFill>
                      <a:schemeClr val="dk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92" name="Google Shape;292;p26"/>
              <p:cNvSpPr/>
              <p:nvPr/>
            </p:nvSpPr>
            <p:spPr>
              <a:xfrm>
                <a:off x="1033463" y="3025776"/>
                <a:ext cx="2719388" cy="2711450"/>
              </a:xfrm>
              <a:custGeom>
                <a:avLst/>
                <a:gdLst/>
                <a:ahLst/>
                <a:cxnLst/>
                <a:rect l="l" t="t" r="r" b="b"/>
                <a:pathLst>
                  <a:path w="1261" h="1261" extrusionOk="0">
                    <a:moveTo>
                      <a:pt x="1232" y="1091"/>
                    </a:moveTo>
                    <a:cubicBezTo>
                      <a:pt x="1252" y="1111"/>
                      <a:pt x="1261" y="1136"/>
                      <a:pt x="1261" y="1162"/>
                    </a:cubicBezTo>
                    <a:cubicBezTo>
                      <a:pt x="1261" y="1187"/>
                      <a:pt x="1252" y="1213"/>
                      <a:pt x="1232" y="1232"/>
                    </a:cubicBezTo>
                    <a:cubicBezTo>
                      <a:pt x="1213" y="1251"/>
                      <a:pt x="1187" y="1261"/>
                      <a:pt x="1162" y="1261"/>
                    </a:cubicBezTo>
                    <a:cubicBezTo>
                      <a:pt x="1136" y="1261"/>
                      <a:pt x="1111" y="1251"/>
                      <a:pt x="1091" y="1232"/>
                    </a:cubicBezTo>
                    <a:cubicBezTo>
                      <a:pt x="801" y="942"/>
                      <a:pt x="801" y="942"/>
                      <a:pt x="801" y="942"/>
                    </a:cubicBezTo>
                    <a:cubicBezTo>
                      <a:pt x="797" y="937"/>
                      <a:pt x="794" y="931"/>
                      <a:pt x="794" y="925"/>
                    </a:cubicBezTo>
                    <a:cubicBezTo>
                      <a:pt x="794" y="918"/>
                      <a:pt x="797" y="912"/>
                      <a:pt x="801" y="908"/>
                    </a:cubicBezTo>
                    <a:cubicBezTo>
                      <a:pt x="813" y="896"/>
                      <a:pt x="813" y="896"/>
                      <a:pt x="813" y="896"/>
                    </a:cubicBezTo>
                    <a:cubicBezTo>
                      <a:pt x="784" y="868"/>
                      <a:pt x="784" y="868"/>
                      <a:pt x="784" y="868"/>
                    </a:cubicBezTo>
                    <a:cubicBezTo>
                      <a:pt x="702" y="931"/>
                      <a:pt x="603" y="963"/>
                      <a:pt x="504" y="963"/>
                    </a:cubicBezTo>
                    <a:cubicBezTo>
                      <a:pt x="386" y="963"/>
                      <a:pt x="269" y="918"/>
                      <a:pt x="179" y="828"/>
                    </a:cubicBezTo>
                    <a:cubicBezTo>
                      <a:pt x="0" y="649"/>
                      <a:pt x="0" y="358"/>
                      <a:pt x="179" y="179"/>
                    </a:cubicBezTo>
                    <a:cubicBezTo>
                      <a:pt x="358" y="0"/>
                      <a:pt x="650" y="0"/>
                      <a:pt x="829" y="179"/>
                    </a:cubicBezTo>
                    <a:cubicBezTo>
                      <a:pt x="994" y="344"/>
                      <a:pt x="1007" y="604"/>
                      <a:pt x="868" y="784"/>
                    </a:cubicBezTo>
                    <a:cubicBezTo>
                      <a:pt x="896" y="812"/>
                      <a:pt x="896" y="812"/>
                      <a:pt x="896" y="812"/>
                    </a:cubicBezTo>
                    <a:cubicBezTo>
                      <a:pt x="908" y="801"/>
                      <a:pt x="908" y="801"/>
                      <a:pt x="908" y="801"/>
                    </a:cubicBezTo>
                    <a:cubicBezTo>
                      <a:pt x="917" y="791"/>
                      <a:pt x="933" y="791"/>
                      <a:pt x="942" y="801"/>
                    </a:cubicBezTo>
                    <a:lnTo>
                      <a:pt x="1232" y="1091"/>
                    </a:lnTo>
                    <a:close/>
                    <a:moveTo>
                      <a:pt x="1198" y="1198"/>
                    </a:moveTo>
                    <a:cubicBezTo>
                      <a:pt x="1219" y="1178"/>
                      <a:pt x="1219" y="1145"/>
                      <a:pt x="1198" y="1125"/>
                    </a:cubicBezTo>
                    <a:cubicBezTo>
                      <a:pt x="925" y="852"/>
                      <a:pt x="925" y="852"/>
                      <a:pt x="925" y="852"/>
                    </a:cubicBezTo>
                    <a:cubicBezTo>
                      <a:pt x="852" y="925"/>
                      <a:pt x="852" y="925"/>
                      <a:pt x="852" y="925"/>
                    </a:cubicBezTo>
                    <a:cubicBezTo>
                      <a:pt x="1125" y="1198"/>
                      <a:pt x="1125" y="1198"/>
                      <a:pt x="1125" y="1198"/>
                    </a:cubicBezTo>
                    <a:cubicBezTo>
                      <a:pt x="1146" y="1218"/>
                      <a:pt x="1178" y="1218"/>
                      <a:pt x="1198" y="1198"/>
                    </a:cubicBezTo>
                    <a:close/>
                    <a:moveTo>
                      <a:pt x="915" y="504"/>
                    </a:moveTo>
                    <a:cubicBezTo>
                      <a:pt x="915" y="394"/>
                      <a:pt x="872" y="291"/>
                      <a:pt x="795" y="213"/>
                    </a:cubicBezTo>
                    <a:cubicBezTo>
                      <a:pt x="717" y="135"/>
                      <a:pt x="614" y="92"/>
                      <a:pt x="504" y="92"/>
                    </a:cubicBezTo>
                    <a:cubicBezTo>
                      <a:pt x="394" y="92"/>
                      <a:pt x="291" y="135"/>
                      <a:pt x="213" y="213"/>
                    </a:cubicBezTo>
                    <a:cubicBezTo>
                      <a:pt x="136" y="291"/>
                      <a:pt x="93" y="394"/>
                      <a:pt x="93" y="504"/>
                    </a:cubicBezTo>
                    <a:cubicBezTo>
                      <a:pt x="93" y="613"/>
                      <a:pt x="136" y="717"/>
                      <a:pt x="213" y="794"/>
                    </a:cubicBezTo>
                    <a:cubicBezTo>
                      <a:pt x="291" y="872"/>
                      <a:pt x="394" y="915"/>
                      <a:pt x="504" y="915"/>
                    </a:cubicBezTo>
                    <a:cubicBezTo>
                      <a:pt x="614" y="915"/>
                      <a:pt x="717" y="872"/>
                      <a:pt x="795" y="794"/>
                    </a:cubicBezTo>
                    <a:cubicBezTo>
                      <a:pt x="872" y="717"/>
                      <a:pt x="915" y="613"/>
                      <a:pt x="915" y="504"/>
                    </a:cubicBezTo>
                    <a:close/>
                    <a:moveTo>
                      <a:pt x="847" y="862"/>
                    </a:moveTo>
                    <a:cubicBezTo>
                      <a:pt x="862" y="846"/>
                      <a:pt x="862" y="846"/>
                      <a:pt x="862" y="846"/>
                    </a:cubicBezTo>
                    <a:cubicBezTo>
                      <a:pt x="837" y="820"/>
                      <a:pt x="837" y="820"/>
                      <a:pt x="837" y="820"/>
                    </a:cubicBezTo>
                    <a:cubicBezTo>
                      <a:pt x="834" y="823"/>
                      <a:pt x="831" y="826"/>
                      <a:pt x="829" y="828"/>
                    </a:cubicBezTo>
                    <a:cubicBezTo>
                      <a:pt x="826" y="831"/>
                      <a:pt x="823" y="834"/>
                      <a:pt x="821" y="836"/>
                    </a:cubicBezTo>
                    <a:lnTo>
                      <a:pt x="847" y="862"/>
                    </a:lnTo>
                    <a:close/>
                    <a:moveTo>
                      <a:pt x="847" y="862"/>
                    </a:moveTo>
                    <a:cubicBezTo>
                      <a:pt x="847" y="862"/>
                      <a:pt x="847" y="862"/>
                      <a:pt x="847" y="862"/>
                    </a:cubicBezTo>
                  </a:path>
                </a:pathLst>
              </a:custGeom>
              <a:solidFill>
                <a:srgbClr val="262626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26"/>
              <p:cNvSpPr/>
              <p:nvPr/>
            </p:nvSpPr>
            <p:spPr>
              <a:xfrm>
                <a:off x="1341438" y="3333751"/>
                <a:ext cx="1557338" cy="1550988"/>
              </a:xfrm>
              <a:custGeom>
                <a:avLst/>
                <a:gdLst/>
                <a:ahLst/>
                <a:cxnLst/>
                <a:rect l="l" t="t" r="r" b="b"/>
                <a:pathLst>
                  <a:path w="722" h="721" extrusionOk="0">
                    <a:moveTo>
                      <a:pt x="616" y="106"/>
                    </a:moveTo>
                    <a:cubicBezTo>
                      <a:pt x="684" y="174"/>
                      <a:pt x="722" y="264"/>
                      <a:pt x="722" y="361"/>
                    </a:cubicBezTo>
                    <a:cubicBezTo>
                      <a:pt x="722" y="457"/>
                      <a:pt x="684" y="548"/>
                      <a:pt x="616" y="616"/>
                    </a:cubicBezTo>
                    <a:cubicBezTo>
                      <a:pt x="548" y="684"/>
                      <a:pt x="457" y="721"/>
                      <a:pt x="361" y="721"/>
                    </a:cubicBezTo>
                    <a:cubicBezTo>
                      <a:pt x="265" y="721"/>
                      <a:pt x="174" y="684"/>
                      <a:pt x="106" y="616"/>
                    </a:cubicBezTo>
                    <a:cubicBezTo>
                      <a:pt x="38" y="548"/>
                      <a:pt x="0" y="457"/>
                      <a:pt x="0" y="361"/>
                    </a:cubicBezTo>
                    <a:cubicBezTo>
                      <a:pt x="0" y="264"/>
                      <a:pt x="38" y="174"/>
                      <a:pt x="106" y="106"/>
                    </a:cubicBezTo>
                    <a:cubicBezTo>
                      <a:pt x="174" y="38"/>
                      <a:pt x="265" y="0"/>
                      <a:pt x="361" y="0"/>
                    </a:cubicBezTo>
                    <a:cubicBezTo>
                      <a:pt x="457" y="0"/>
                      <a:pt x="548" y="38"/>
                      <a:pt x="616" y="106"/>
                    </a:cubicBezTo>
                    <a:close/>
                    <a:moveTo>
                      <a:pt x="582" y="582"/>
                    </a:moveTo>
                    <a:cubicBezTo>
                      <a:pt x="704" y="460"/>
                      <a:pt x="704" y="262"/>
                      <a:pt x="582" y="140"/>
                    </a:cubicBezTo>
                    <a:cubicBezTo>
                      <a:pt x="523" y="81"/>
                      <a:pt x="444" y="48"/>
                      <a:pt x="361" y="48"/>
                    </a:cubicBezTo>
                    <a:cubicBezTo>
                      <a:pt x="278" y="48"/>
                      <a:pt x="199" y="81"/>
                      <a:pt x="140" y="140"/>
                    </a:cubicBezTo>
                    <a:cubicBezTo>
                      <a:pt x="18" y="262"/>
                      <a:pt x="18" y="460"/>
                      <a:pt x="140" y="582"/>
                    </a:cubicBezTo>
                    <a:cubicBezTo>
                      <a:pt x="199" y="641"/>
                      <a:pt x="278" y="673"/>
                      <a:pt x="361" y="673"/>
                    </a:cubicBezTo>
                    <a:cubicBezTo>
                      <a:pt x="444" y="673"/>
                      <a:pt x="523" y="641"/>
                      <a:pt x="582" y="582"/>
                    </a:cubicBezTo>
                    <a:close/>
                    <a:moveTo>
                      <a:pt x="582" y="582"/>
                    </a:moveTo>
                    <a:cubicBezTo>
                      <a:pt x="582" y="582"/>
                      <a:pt x="582" y="582"/>
                      <a:pt x="582" y="582"/>
                    </a:cubicBezTo>
                  </a:path>
                </a:pathLst>
              </a:custGeom>
              <a:solidFill>
                <a:srgbClr val="262626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4" name="Google Shape;294;p26"/>
            <p:cNvGrpSpPr/>
            <p:nvPr/>
          </p:nvGrpSpPr>
          <p:grpSpPr>
            <a:xfrm>
              <a:off x="5777659" y="3240019"/>
              <a:ext cx="648080" cy="1005395"/>
              <a:chOff x="655638" y="2620963"/>
              <a:chExt cx="2009775" cy="3117850"/>
            </a:xfrm>
          </p:grpSpPr>
          <p:sp>
            <p:nvSpPr>
              <p:cNvPr id="295" name="Google Shape;295;p26"/>
              <p:cNvSpPr/>
              <p:nvPr/>
            </p:nvSpPr>
            <p:spPr>
              <a:xfrm>
                <a:off x="981075" y="3498850"/>
                <a:ext cx="1358900" cy="1362075"/>
              </a:xfrm>
              <a:custGeom>
                <a:avLst/>
                <a:gdLst/>
                <a:ahLst/>
                <a:cxnLst/>
                <a:rect l="l" t="t" r="r" b="b"/>
                <a:pathLst>
                  <a:path w="1036" h="1040" extrusionOk="0">
                    <a:moveTo>
                      <a:pt x="1030" y="439"/>
                    </a:moveTo>
                    <a:cubicBezTo>
                      <a:pt x="979" y="439"/>
                      <a:pt x="979" y="439"/>
                      <a:pt x="979" y="439"/>
                    </a:cubicBezTo>
                    <a:cubicBezTo>
                      <a:pt x="959" y="439"/>
                      <a:pt x="942" y="426"/>
                      <a:pt x="936" y="407"/>
                    </a:cubicBezTo>
                    <a:cubicBezTo>
                      <a:pt x="927" y="371"/>
                      <a:pt x="912" y="337"/>
                      <a:pt x="894" y="304"/>
                    </a:cubicBezTo>
                    <a:cubicBezTo>
                      <a:pt x="884" y="287"/>
                      <a:pt x="887" y="266"/>
                      <a:pt x="901" y="252"/>
                    </a:cubicBezTo>
                    <a:cubicBezTo>
                      <a:pt x="937" y="215"/>
                      <a:pt x="937" y="215"/>
                      <a:pt x="937" y="215"/>
                    </a:cubicBezTo>
                    <a:cubicBezTo>
                      <a:pt x="905" y="171"/>
                      <a:pt x="867" y="133"/>
                      <a:pt x="823" y="101"/>
                    </a:cubicBezTo>
                    <a:cubicBezTo>
                      <a:pt x="786" y="137"/>
                      <a:pt x="786" y="137"/>
                      <a:pt x="786" y="137"/>
                    </a:cubicBezTo>
                    <a:cubicBezTo>
                      <a:pt x="772" y="151"/>
                      <a:pt x="751" y="154"/>
                      <a:pt x="734" y="144"/>
                    </a:cubicBezTo>
                    <a:cubicBezTo>
                      <a:pt x="701" y="126"/>
                      <a:pt x="667" y="111"/>
                      <a:pt x="631" y="102"/>
                    </a:cubicBezTo>
                    <a:cubicBezTo>
                      <a:pt x="612" y="96"/>
                      <a:pt x="599" y="79"/>
                      <a:pt x="599" y="59"/>
                    </a:cubicBezTo>
                    <a:cubicBezTo>
                      <a:pt x="599" y="8"/>
                      <a:pt x="599" y="8"/>
                      <a:pt x="599" y="8"/>
                    </a:cubicBezTo>
                    <a:cubicBezTo>
                      <a:pt x="546" y="0"/>
                      <a:pt x="490" y="0"/>
                      <a:pt x="437" y="8"/>
                    </a:cubicBezTo>
                    <a:cubicBezTo>
                      <a:pt x="437" y="59"/>
                      <a:pt x="437" y="59"/>
                      <a:pt x="437" y="59"/>
                    </a:cubicBezTo>
                    <a:cubicBezTo>
                      <a:pt x="437" y="79"/>
                      <a:pt x="424" y="96"/>
                      <a:pt x="405" y="102"/>
                    </a:cubicBezTo>
                    <a:cubicBezTo>
                      <a:pt x="369" y="111"/>
                      <a:pt x="335" y="126"/>
                      <a:pt x="302" y="144"/>
                    </a:cubicBezTo>
                    <a:cubicBezTo>
                      <a:pt x="285" y="154"/>
                      <a:pt x="264" y="151"/>
                      <a:pt x="249" y="137"/>
                    </a:cubicBezTo>
                    <a:cubicBezTo>
                      <a:pt x="213" y="101"/>
                      <a:pt x="213" y="101"/>
                      <a:pt x="213" y="101"/>
                    </a:cubicBezTo>
                    <a:cubicBezTo>
                      <a:pt x="169" y="133"/>
                      <a:pt x="131" y="171"/>
                      <a:pt x="99" y="215"/>
                    </a:cubicBezTo>
                    <a:cubicBezTo>
                      <a:pt x="135" y="251"/>
                      <a:pt x="135" y="251"/>
                      <a:pt x="135" y="251"/>
                    </a:cubicBezTo>
                    <a:cubicBezTo>
                      <a:pt x="149" y="266"/>
                      <a:pt x="152" y="287"/>
                      <a:pt x="142" y="304"/>
                    </a:cubicBezTo>
                    <a:cubicBezTo>
                      <a:pt x="124" y="337"/>
                      <a:pt x="109" y="371"/>
                      <a:pt x="100" y="407"/>
                    </a:cubicBezTo>
                    <a:cubicBezTo>
                      <a:pt x="94" y="426"/>
                      <a:pt x="77" y="439"/>
                      <a:pt x="57" y="439"/>
                    </a:cubicBezTo>
                    <a:cubicBezTo>
                      <a:pt x="6" y="439"/>
                      <a:pt x="6" y="439"/>
                      <a:pt x="6" y="439"/>
                    </a:cubicBezTo>
                    <a:cubicBezTo>
                      <a:pt x="2" y="466"/>
                      <a:pt x="0" y="493"/>
                      <a:pt x="0" y="520"/>
                    </a:cubicBezTo>
                    <a:cubicBezTo>
                      <a:pt x="0" y="547"/>
                      <a:pt x="2" y="574"/>
                      <a:pt x="6" y="601"/>
                    </a:cubicBezTo>
                    <a:cubicBezTo>
                      <a:pt x="57" y="601"/>
                      <a:pt x="57" y="601"/>
                      <a:pt x="57" y="601"/>
                    </a:cubicBezTo>
                    <a:cubicBezTo>
                      <a:pt x="77" y="601"/>
                      <a:pt x="94" y="614"/>
                      <a:pt x="100" y="633"/>
                    </a:cubicBezTo>
                    <a:cubicBezTo>
                      <a:pt x="109" y="669"/>
                      <a:pt x="124" y="703"/>
                      <a:pt x="142" y="736"/>
                    </a:cubicBezTo>
                    <a:cubicBezTo>
                      <a:pt x="152" y="753"/>
                      <a:pt x="149" y="774"/>
                      <a:pt x="135" y="789"/>
                    </a:cubicBezTo>
                    <a:cubicBezTo>
                      <a:pt x="99" y="825"/>
                      <a:pt x="99" y="825"/>
                      <a:pt x="99" y="825"/>
                    </a:cubicBezTo>
                    <a:cubicBezTo>
                      <a:pt x="131" y="868"/>
                      <a:pt x="169" y="907"/>
                      <a:pt x="213" y="939"/>
                    </a:cubicBezTo>
                    <a:cubicBezTo>
                      <a:pt x="249" y="903"/>
                      <a:pt x="249" y="903"/>
                      <a:pt x="249" y="903"/>
                    </a:cubicBezTo>
                    <a:cubicBezTo>
                      <a:pt x="264" y="889"/>
                      <a:pt x="285" y="886"/>
                      <a:pt x="302" y="896"/>
                    </a:cubicBezTo>
                    <a:cubicBezTo>
                      <a:pt x="335" y="914"/>
                      <a:pt x="369" y="929"/>
                      <a:pt x="405" y="938"/>
                    </a:cubicBezTo>
                    <a:cubicBezTo>
                      <a:pt x="424" y="944"/>
                      <a:pt x="437" y="961"/>
                      <a:pt x="437" y="981"/>
                    </a:cubicBezTo>
                    <a:cubicBezTo>
                      <a:pt x="437" y="1032"/>
                      <a:pt x="437" y="1032"/>
                      <a:pt x="437" y="1032"/>
                    </a:cubicBezTo>
                    <a:cubicBezTo>
                      <a:pt x="490" y="1040"/>
                      <a:pt x="546" y="1040"/>
                      <a:pt x="599" y="1032"/>
                    </a:cubicBezTo>
                    <a:cubicBezTo>
                      <a:pt x="599" y="981"/>
                      <a:pt x="599" y="981"/>
                      <a:pt x="599" y="981"/>
                    </a:cubicBezTo>
                    <a:cubicBezTo>
                      <a:pt x="599" y="961"/>
                      <a:pt x="612" y="944"/>
                      <a:pt x="631" y="938"/>
                    </a:cubicBezTo>
                    <a:cubicBezTo>
                      <a:pt x="667" y="929"/>
                      <a:pt x="701" y="914"/>
                      <a:pt x="734" y="896"/>
                    </a:cubicBezTo>
                    <a:cubicBezTo>
                      <a:pt x="751" y="886"/>
                      <a:pt x="772" y="889"/>
                      <a:pt x="786" y="903"/>
                    </a:cubicBezTo>
                    <a:cubicBezTo>
                      <a:pt x="823" y="939"/>
                      <a:pt x="823" y="939"/>
                      <a:pt x="823" y="939"/>
                    </a:cubicBezTo>
                    <a:cubicBezTo>
                      <a:pt x="867" y="907"/>
                      <a:pt x="905" y="868"/>
                      <a:pt x="937" y="825"/>
                    </a:cubicBezTo>
                    <a:cubicBezTo>
                      <a:pt x="901" y="788"/>
                      <a:pt x="901" y="788"/>
                      <a:pt x="901" y="788"/>
                    </a:cubicBezTo>
                    <a:cubicBezTo>
                      <a:pt x="887" y="774"/>
                      <a:pt x="884" y="753"/>
                      <a:pt x="894" y="736"/>
                    </a:cubicBezTo>
                    <a:cubicBezTo>
                      <a:pt x="912" y="703"/>
                      <a:pt x="927" y="669"/>
                      <a:pt x="936" y="633"/>
                    </a:cubicBezTo>
                    <a:cubicBezTo>
                      <a:pt x="942" y="614"/>
                      <a:pt x="959" y="601"/>
                      <a:pt x="979" y="601"/>
                    </a:cubicBezTo>
                    <a:cubicBezTo>
                      <a:pt x="1030" y="601"/>
                      <a:pt x="1030" y="601"/>
                      <a:pt x="1030" y="601"/>
                    </a:cubicBezTo>
                    <a:cubicBezTo>
                      <a:pt x="1034" y="574"/>
                      <a:pt x="1036" y="547"/>
                      <a:pt x="1036" y="520"/>
                    </a:cubicBezTo>
                    <a:cubicBezTo>
                      <a:pt x="1036" y="493"/>
                      <a:pt x="1034" y="466"/>
                      <a:pt x="1030" y="439"/>
                    </a:cubicBezTo>
                    <a:close/>
                    <a:moveTo>
                      <a:pt x="518" y="746"/>
                    </a:moveTo>
                    <a:cubicBezTo>
                      <a:pt x="393" y="746"/>
                      <a:pt x="292" y="644"/>
                      <a:pt x="292" y="520"/>
                    </a:cubicBezTo>
                    <a:cubicBezTo>
                      <a:pt x="292" y="396"/>
                      <a:pt x="393" y="294"/>
                      <a:pt x="518" y="294"/>
                    </a:cubicBezTo>
                    <a:cubicBezTo>
                      <a:pt x="642" y="294"/>
                      <a:pt x="744" y="396"/>
                      <a:pt x="744" y="520"/>
                    </a:cubicBezTo>
                    <a:cubicBezTo>
                      <a:pt x="744" y="644"/>
                      <a:pt x="642" y="746"/>
                      <a:pt x="518" y="74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296;p26"/>
              <p:cNvSpPr/>
              <p:nvPr/>
            </p:nvSpPr>
            <p:spPr>
              <a:xfrm>
                <a:off x="727075" y="2692400"/>
                <a:ext cx="1858964" cy="463550"/>
              </a:xfrm>
              <a:custGeom>
                <a:avLst/>
                <a:gdLst/>
                <a:ahLst/>
                <a:cxnLst/>
                <a:rect l="l" t="t" r="r" b="b"/>
                <a:pathLst>
                  <a:path w="1418" h="354" extrusionOk="0">
                    <a:moveTo>
                      <a:pt x="0" y="346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338" y="0"/>
                      <a:pt x="1338" y="0"/>
                      <a:pt x="1338" y="0"/>
                    </a:cubicBezTo>
                    <a:cubicBezTo>
                      <a:pt x="1382" y="0"/>
                      <a:pt x="1418" y="36"/>
                      <a:pt x="1418" y="80"/>
                    </a:cubicBezTo>
                    <a:cubicBezTo>
                      <a:pt x="1418" y="354"/>
                      <a:pt x="1418" y="354"/>
                      <a:pt x="1418" y="354"/>
                    </a:cubicBezTo>
                    <a:lnTo>
                      <a:pt x="0" y="346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26"/>
              <p:cNvSpPr/>
              <p:nvPr/>
            </p:nvSpPr>
            <p:spPr>
              <a:xfrm>
                <a:off x="727075" y="5195888"/>
                <a:ext cx="1858963" cy="463550"/>
              </a:xfrm>
              <a:custGeom>
                <a:avLst/>
                <a:gdLst/>
                <a:ahLst/>
                <a:cxnLst/>
                <a:rect l="l" t="t" r="r" b="b"/>
                <a:pathLst>
                  <a:path w="1418" h="354" extrusionOk="0">
                    <a:moveTo>
                      <a:pt x="0" y="8"/>
                    </a:moveTo>
                    <a:cubicBezTo>
                      <a:pt x="0" y="274"/>
                      <a:pt x="0" y="274"/>
                      <a:pt x="0" y="274"/>
                    </a:cubicBezTo>
                    <a:cubicBezTo>
                      <a:pt x="0" y="318"/>
                      <a:pt x="36" y="354"/>
                      <a:pt x="80" y="354"/>
                    </a:cubicBezTo>
                    <a:cubicBezTo>
                      <a:pt x="1338" y="354"/>
                      <a:pt x="1338" y="354"/>
                      <a:pt x="1338" y="354"/>
                    </a:cubicBezTo>
                    <a:cubicBezTo>
                      <a:pt x="1382" y="354"/>
                      <a:pt x="1418" y="318"/>
                      <a:pt x="1418" y="274"/>
                    </a:cubicBezTo>
                    <a:cubicBezTo>
                      <a:pt x="1418" y="0"/>
                      <a:pt x="1418" y="0"/>
                      <a:pt x="1418" y="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" name="Google Shape;298;p26"/>
              <p:cNvSpPr/>
              <p:nvPr/>
            </p:nvSpPr>
            <p:spPr>
              <a:xfrm>
                <a:off x="655638" y="2620963"/>
                <a:ext cx="2009775" cy="3117850"/>
              </a:xfrm>
              <a:custGeom>
                <a:avLst/>
                <a:gdLst/>
                <a:ahLst/>
                <a:cxnLst/>
                <a:rect l="l" t="t" r="r" b="b"/>
                <a:pathLst>
                  <a:path w="1532" h="2382" extrusionOk="0">
                    <a:moveTo>
                      <a:pt x="1532" y="201"/>
                    </a:moveTo>
                    <a:cubicBezTo>
                      <a:pt x="1532" y="2181"/>
                      <a:pt x="1532" y="2181"/>
                      <a:pt x="1532" y="2181"/>
                    </a:cubicBezTo>
                    <a:cubicBezTo>
                      <a:pt x="1532" y="2291"/>
                      <a:pt x="1442" y="2382"/>
                      <a:pt x="1331" y="2382"/>
                    </a:cubicBezTo>
                    <a:cubicBezTo>
                      <a:pt x="201" y="2382"/>
                      <a:pt x="201" y="2382"/>
                      <a:pt x="201" y="2382"/>
                    </a:cubicBezTo>
                    <a:cubicBezTo>
                      <a:pt x="90" y="2382"/>
                      <a:pt x="0" y="2291"/>
                      <a:pt x="0" y="2181"/>
                    </a:cubicBezTo>
                    <a:cubicBezTo>
                      <a:pt x="0" y="201"/>
                      <a:pt x="0" y="201"/>
                      <a:pt x="0" y="201"/>
                    </a:cubicBezTo>
                    <a:cubicBezTo>
                      <a:pt x="0" y="91"/>
                      <a:pt x="90" y="0"/>
                      <a:pt x="201" y="0"/>
                    </a:cubicBezTo>
                    <a:cubicBezTo>
                      <a:pt x="1331" y="0"/>
                      <a:pt x="1331" y="0"/>
                      <a:pt x="1331" y="0"/>
                    </a:cubicBezTo>
                    <a:cubicBezTo>
                      <a:pt x="1442" y="0"/>
                      <a:pt x="1532" y="91"/>
                      <a:pt x="1532" y="201"/>
                    </a:cubicBezTo>
                    <a:close/>
                    <a:moveTo>
                      <a:pt x="1451" y="2181"/>
                    </a:moveTo>
                    <a:cubicBezTo>
                      <a:pt x="1451" y="2016"/>
                      <a:pt x="1451" y="2016"/>
                      <a:pt x="1451" y="2016"/>
                    </a:cubicBezTo>
                    <a:cubicBezTo>
                      <a:pt x="81" y="2016"/>
                      <a:pt x="81" y="2016"/>
                      <a:pt x="81" y="2016"/>
                    </a:cubicBezTo>
                    <a:cubicBezTo>
                      <a:pt x="81" y="2181"/>
                      <a:pt x="81" y="2181"/>
                      <a:pt x="81" y="2181"/>
                    </a:cubicBezTo>
                    <a:cubicBezTo>
                      <a:pt x="81" y="2247"/>
                      <a:pt x="135" y="2301"/>
                      <a:pt x="201" y="2301"/>
                    </a:cubicBezTo>
                    <a:cubicBezTo>
                      <a:pt x="1331" y="2301"/>
                      <a:pt x="1331" y="2301"/>
                      <a:pt x="1331" y="2301"/>
                    </a:cubicBezTo>
                    <a:cubicBezTo>
                      <a:pt x="1397" y="2301"/>
                      <a:pt x="1451" y="2247"/>
                      <a:pt x="1451" y="2181"/>
                    </a:cubicBezTo>
                    <a:close/>
                    <a:moveTo>
                      <a:pt x="1451" y="1935"/>
                    </a:moveTo>
                    <a:cubicBezTo>
                      <a:pt x="1451" y="447"/>
                      <a:pt x="1451" y="447"/>
                      <a:pt x="1451" y="447"/>
                    </a:cubicBezTo>
                    <a:cubicBezTo>
                      <a:pt x="81" y="447"/>
                      <a:pt x="81" y="447"/>
                      <a:pt x="81" y="447"/>
                    </a:cubicBezTo>
                    <a:cubicBezTo>
                      <a:pt x="81" y="1935"/>
                      <a:pt x="81" y="1935"/>
                      <a:pt x="81" y="1935"/>
                    </a:cubicBezTo>
                    <a:lnTo>
                      <a:pt x="1451" y="1935"/>
                    </a:lnTo>
                    <a:close/>
                    <a:moveTo>
                      <a:pt x="1451" y="366"/>
                    </a:moveTo>
                    <a:cubicBezTo>
                      <a:pt x="1451" y="201"/>
                      <a:pt x="1451" y="201"/>
                      <a:pt x="1451" y="201"/>
                    </a:cubicBezTo>
                    <a:cubicBezTo>
                      <a:pt x="1451" y="135"/>
                      <a:pt x="1397" y="81"/>
                      <a:pt x="1331" y="81"/>
                    </a:cubicBezTo>
                    <a:cubicBezTo>
                      <a:pt x="201" y="81"/>
                      <a:pt x="201" y="81"/>
                      <a:pt x="201" y="81"/>
                    </a:cubicBezTo>
                    <a:cubicBezTo>
                      <a:pt x="135" y="81"/>
                      <a:pt x="81" y="135"/>
                      <a:pt x="81" y="201"/>
                    </a:cubicBezTo>
                    <a:cubicBezTo>
                      <a:pt x="81" y="366"/>
                      <a:pt x="81" y="366"/>
                      <a:pt x="81" y="366"/>
                    </a:cubicBezTo>
                    <a:lnTo>
                      <a:pt x="1451" y="366"/>
                    </a:ln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" name="Google Shape;299;p26"/>
              <p:cNvSpPr/>
              <p:nvPr/>
            </p:nvSpPr>
            <p:spPr>
              <a:xfrm>
                <a:off x="930275" y="3444875"/>
                <a:ext cx="1458913" cy="1462088"/>
              </a:xfrm>
              <a:custGeom>
                <a:avLst/>
                <a:gdLst/>
                <a:ahLst/>
                <a:cxnLst/>
                <a:rect l="l" t="t" r="r" b="b"/>
                <a:pathLst>
                  <a:path w="1112" h="1117" extrusionOk="0">
                    <a:moveTo>
                      <a:pt x="1099" y="437"/>
                    </a:moveTo>
                    <a:cubicBezTo>
                      <a:pt x="1108" y="478"/>
                      <a:pt x="1112" y="519"/>
                      <a:pt x="1112" y="561"/>
                    </a:cubicBezTo>
                    <a:cubicBezTo>
                      <a:pt x="1112" y="603"/>
                      <a:pt x="1108" y="644"/>
                      <a:pt x="1099" y="685"/>
                    </a:cubicBezTo>
                    <a:cubicBezTo>
                      <a:pt x="1094" y="703"/>
                      <a:pt x="1078" y="716"/>
                      <a:pt x="1059" y="716"/>
                    </a:cubicBezTo>
                    <a:cubicBezTo>
                      <a:pt x="1009" y="716"/>
                      <a:pt x="1009" y="716"/>
                      <a:pt x="1009" y="716"/>
                    </a:cubicBezTo>
                    <a:cubicBezTo>
                      <a:pt x="1002" y="735"/>
                      <a:pt x="994" y="753"/>
                      <a:pt x="986" y="771"/>
                    </a:cubicBezTo>
                    <a:cubicBezTo>
                      <a:pt x="1021" y="807"/>
                      <a:pt x="1021" y="807"/>
                      <a:pt x="1021" y="807"/>
                    </a:cubicBezTo>
                    <a:cubicBezTo>
                      <a:pt x="1035" y="821"/>
                      <a:pt x="1037" y="841"/>
                      <a:pt x="1027" y="857"/>
                    </a:cubicBezTo>
                    <a:cubicBezTo>
                      <a:pt x="983" y="927"/>
                      <a:pt x="922" y="988"/>
                      <a:pt x="852" y="1032"/>
                    </a:cubicBezTo>
                    <a:cubicBezTo>
                      <a:pt x="836" y="1042"/>
                      <a:pt x="816" y="1040"/>
                      <a:pt x="802" y="1026"/>
                    </a:cubicBezTo>
                    <a:cubicBezTo>
                      <a:pt x="766" y="991"/>
                      <a:pt x="766" y="991"/>
                      <a:pt x="766" y="991"/>
                    </a:cubicBezTo>
                    <a:cubicBezTo>
                      <a:pt x="748" y="999"/>
                      <a:pt x="730" y="1007"/>
                      <a:pt x="711" y="1014"/>
                    </a:cubicBezTo>
                    <a:cubicBezTo>
                      <a:pt x="711" y="1064"/>
                      <a:pt x="711" y="1064"/>
                      <a:pt x="711" y="1064"/>
                    </a:cubicBezTo>
                    <a:cubicBezTo>
                      <a:pt x="711" y="1083"/>
                      <a:pt x="698" y="1099"/>
                      <a:pt x="680" y="1103"/>
                    </a:cubicBezTo>
                    <a:cubicBezTo>
                      <a:pt x="639" y="1113"/>
                      <a:pt x="598" y="1117"/>
                      <a:pt x="556" y="1117"/>
                    </a:cubicBezTo>
                    <a:cubicBezTo>
                      <a:pt x="514" y="1117"/>
                      <a:pt x="473" y="1113"/>
                      <a:pt x="432" y="1103"/>
                    </a:cubicBezTo>
                    <a:cubicBezTo>
                      <a:pt x="414" y="1099"/>
                      <a:pt x="401" y="1083"/>
                      <a:pt x="401" y="1064"/>
                    </a:cubicBezTo>
                    <a:cubicBezTo>
                      <a:pt x="401" y="1014"/>
                      <a:pt x="401" y="1014"/>
                      <a:pt x="401" y="1014"/>
                    </a:cubicBezTo>
                    <a:cubicBezTo>
                      <a:pt x="382" y="1007"/>
                      <a:pt x="364" y="999"/>
                      <a:pt x="346" y="991"/>
                    </a:cubicBezTo>
                    <a:cubicBezTo>
                      <a:pt x="310" y="1026"/>
                      <a:pt x="310" y="1026"/>
                      <a:pt x="310" y="1026"/>
                    </a:cubicBezTo>
                    <a:cubicBezTo>
                      <a:pt x="296" y="1040"/>
                      <a:pt x="276" y="1042"/>
                      <a:pt x="260" y="1032"/>
                    </a:cubicBezTo>
                    <a:cubicBezTo>
                      <a:pt x="190" y="988"/>
                      <a:pt x="129" y="927"/>
                      <a:pt x="85" y="857"/>
                    </a:cubicBezTo>
                    <a:cubicBezTo>
                      <a:pt x="75" y="841"/>
                      <a:pt x="77" y="821"/>
                      <a:pt x="91" y="807"/>
                    </a:cubicBezTo>
                    <a:cubicBezTo>
                      <a:pt x="126" y="772"/>
                      <a:pt x="126" y="772"/>
                      <a:pt x="126" y="772"/>
                    </a:cubicBezTo>
                    <a:cubicBezTo>
                      <a:pt x="118" y="753"/>
                      <a:pt x="110" y="735"/>
                      <a:pt x="103" y="716"/>
                    </a:cubicBezTo>
                    <a:cubicBezTo>
                      <a:pt x="53" y="716"/>
                      <a:pt x="53" y="716"/>
                      <a:pt x="53" y="716"/>
                    </a:cubicBezTo>
                    <a:cubicBezTo>
                      <a:pt x="34" y="716"/>
                      <a:pt x="18" y="703"/>
                      <a:pt x="14" y="685"/>
                    </a:cubicBezTo>
                    <a:cubicBezTo>
                      <a:pt x="4" y="644"/>
                      <a:pt x="0" y="603"/>
                      <a:pt x="0" y="561"/>
                    </a:cubicBezTo>
                    <a:cubicBezTo>
                      <a:pt x="0" y="519"/>
                      <a:pt x="4" y="478"/>
                      <a:pt x="14" y="437"/>
                    </a:cubicBezTo>
                    <a:cubicBezTo>
                      <a:pt x="18" y="419"/>
                      <a:pt x="34" y="406"/>
                      <a:pt x="53" y="406"/>
                    </a:cubicBezTo>
                    <a:cubicBezTo>
                      <a:pt x="103" y="406"/>
                      <a:pt x="103" y="406"/>
                      <a:pt x="103" y="406"/>
                    </a:cubicBezTo>
                    <a:cubicBezTo>
                      <a:pt x="110" y="387"/>
                      <a:pt x="118" y="369"/>
                      <a:pt x="126" y="351"/>
                    </a:cubicBezTo>
                    <a:cubicBezTo>
                      <a:pt x="91" y="315"/>
                      <a:pt x="91" y="315"/>
                      <a:pt x="91" y="315"/>
                    </a:cubicBezTo>
                    <a:cubicBezTo>
                      <a:pt x="77" y="301"/>
                      <a:pt x="75" y="281"/>
                      <a:pt x="85" y="265"/>
                    </a:cubicBezTo>
                    <a:cubicBezTo>
                      <a:pt x="129" y="195"/>
                      <a:pt x="190" y="134"/>
                      <a:pt x="260" y="90"/>
                    </a:cubicBezTo>
                    <a:cubicBezTo>
                      <a:pt x="276" y="80"/>
                      <a:pt x="296" y="82"/>
                      <a:pt x="310" y="96"/>
                    </a:cubicBezTo>
                    <a:cubicBezTo>
                      <a:pt x="346" y="131"/>
                      <a:pt x="346" y="131"/>
                      <a:pt x="346" y="131"/>
                    </a:cubicBezTo>
                    <a:cubicBezTo>
                      <a:pt x="364" y="123"/>
                      <a:pt x="382" y="115"/>
                      <a:pt x="401" y="108"/>
                    </a:cubicBezTo>
                    <a:cubicBezTo>
                      <a:pt x="401" y="58"/>
                      <a:pt x="401" y="58"/>
                      <a:pt x="401" y="58"/>
                    </a:cubicBezTo>
                    <a:cubicBezTo>
                      <a:pt x="401" y="39"/>
                      <a:pt x="414" y="23"/>
                      <a:pt x="432" y="19"/>
                    </a:cubicBezTo>
                    <a:cubicBezTo>
                      <a:pt x="513" y="0"/>
                      <a:pt x="599" y="0"/>
                      <a:pt x="680" y="19"/>
                    </a:cubicBezTo>
                    <a:cubicBezTo>
                      <a:pt x="698" y="23"/>
                      <a:pt x="711" y="39"/>
                      <a:pt x="711" y="58"/>
                    </a:cubicBezTo>
                    <a:cubicBezTo>
                      <a:pt x="711" y="108"/>
                      <a:pt x="711" y="108"/>
                      <a:pt x="711" y="108"/>
                    </a:cubicBezTo>
                    <a:cubicBezTo>
                      <a:pt x="730" y="115"/>
                      <a:pt x="748" y="123"/>
                      <a:pt x="766" y="131"/>
                    </a:cubicBezTo>
                    <a:cubicBezTo>
                      <a:pt x="802" y="96"/>
                      <a:pt x="802" y="96"/>
                      <a:pt x="802" y="96"/>
                    </a:cubicBezTo>
                    <a:cubicBezTo>
                      <a:pt x="816" y="82"/>
                      <a:pt x="836" y="80"/>
                      <a:pt x="852" y="90"/>
                    </a:cubicBezTo>
                    <a:cubicBezTo>
                      <a:pt x="922" y="134"/>
                      <a:pt x="983" y="195"/>
                      <a:pt x="1027" y="265"/>
                    </a:cubicBezTo>
                    <a:cubicBezTo>
                      <a:pt x="1037" y="281"/>
                      <a:pt x="1035" y="301"/>
                      <a:pt x="1021" y="315"/>
                    </a:cubicBezTo>
                    <a:cubicBezTo>
                      <a:pt x="986" y="351"/>
                      <a:pt x="986" y="351"/>
                      <a:pt x="986" y="351"/>
                    </a:cubicBezTo>
                    <a:cubicBezTo>
                      <a:pt x="994" y="369"/>
                      <a:pt x="1002" y="387"/>
                      <a:pt x="1009" y="406"/>
                    </a:cubicBezTo>
                    <a:cubicBezTo>
                      <a:pt x="1059" y="406"/>
                      <a:pt x="1059" y="406"/>
                      <a:pt x="1059" y="406"/>
                    </a:cubicBezTo>
                    <a:cubicBezTo>
                      <a:pt x="1078" y="406"/>
                      <a:pt x="1094" y="419"/>
                      <a:pt x="1099" y="437"/>
                    </a:cubicBezTo>
                    <a:close/>
                    <a:moveTo>
                      <a:pt x="1032" y="561"/>
                    </a:moveTo>
                    <a:cubicBezTo>
                      <a:pt x="1032" y="536"/>
                      <a:pt x="1030" y="511"/>
                      <a:pt x="1026" y="487"/>
                    </a:cubicBezTo>
                    <a:cubicBezTo>
                      <a:pt x="979" y="487"/>
                      <a:pt x="979" y="487"/>
                      <a:pt x="979" y="487"/>
                    </a:cubicBezTo>
                    <a:cubicBezTo>
                      <a:pt x="961" y="487"/>
                      <a:pt x="945" y="475"/>
                      <a:pt x="940" y="457"/>
                    </a:cubicBezTo>
                    <a:cubicBezTo>
                      <a:pt x="931" y="424"/>
                      <a:pt x="918" y="393"/>
                      <a:pt x="901" y="363"/>
                    </a:cubicBezTo>
                    <a:cubicBezTo>
                      <a:pt x="892" y="347"/>
                      <a:pt x="895" y="328"/>
                      <a:pt x="907" y="315"/>
                    </a:cubicBezTo>
                    <a:cubicBezTo>
                      <a:pt x="941" y="281"/>
                      <a:pt x="941" y="281"/>
                      <a:pt x="941" y="281"/>
                    </a:cubicBezTo>
                    <a:cubicBezTo>
                      <a:pt x="912" y="241"/>
                      <a:pt x="876" y="206"/>
                      <a:pt x="836" y="176"/>
                    </a:cubicBezTo>
                    <a:cubicBezTo>
                      <a:pt x="802" y="210"/>
                      <a:pt x="802" y="210"/>
                      <a:pt x="802" y="210"/>
                    </a:cubicBezTo>
                    <a:cubicBezTo>
                      <a:pt x="790" y="222"/>
                      <a:pt x="770" y="225"/>
                      <a:pt x="754" y="216"/>
                    </a:cubicBezTo>
                    <a:cubicBezTo>
                      <a:pt x="724" y="199"/>
                      <a:pt x="693" y="186"/>
                      <a:pt x="660" y="177"/>
                    </a:cubicBezTo>
                    <a:cubicBezTo>
                      <a:pt x="642" y="172"/>
                      <a:pt x="630" y="156"/>
                      <a:pt x="630" y="138"/>
                    </a:cubicBezTo>
                    <a:cubicBezTo>
                      <a:pt x="630" y="91"/>
                      <a:pt x="630" y="91"/>
                      <a:pt x="630" y="91"/>
                    </a:cubicBezTo>
                    <a:cubicBezTo>
                      <a:pt x="581" y="83"/>
                      <a:pt x="531" y="83"/>
                      <a:pt x="482" y="91"/>
                    </a:cubicBezTo>
                    <a:cubicBezTo>
                      <a:pt x="482" y="138"/>
                      <a:pt x="482" y="138"/>
                      <a:pt x="482" y="138"/>
                    </a:cubicBezTo>
                    <a:cubicBezTo>
                      <a:pt x="482" y="156"/>
                      <a:pt x="469" y="172"/>
                      <a:pt x="452" y="177"/>
                    </a:cubicBezTo>
                    <a:cubicBezTo>
                      <a:pt x="419" y="186"/>
                      <a:pt x="388" y="199"/>
                      <a:pt x="358" y="216"/>
                    </a:cubicBezTo>
                    <a:cubicBezTo>
                      <a:pt x="342" y="225"/>
                      <a:pt x="322" y="222"/>
                      <a:pt x="310" y="210"/>
                    </a:cubicBezTo>
                    <a:cubicBezTo>
                      <a:pt x="276" y="176"/>
                      <a:pt x="276" y="176"/>
                      <a:pt x="276" y="176"/>
                    </a:cubicBezTo>
                    <a:cubicBezTo>
                      <a:pt x="236" y="205"/>
                      <a:pt x="200" y="241"/>
                      <a:pt x="171" y="281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7" y="327"/>
                      <a:pt x="220" y="347"/>
                      <a:pt x="211" y="363"/>
                    </a:cubicBezTo>
                    <a:cubicBezTo>
                      <a:pt x="194" y="393"/>
                      <a:pt x="181" y="424"/>
                      <a:pt x="172" y="457"/>
                    </a:cubicBezTo>
                    <a:cubicBezTo>
                      <a:pt x="167" y="475"/>
                      <a:pt x="151" y="487"/>
                      <a:pt x="133" y="487"/>
                    </a:cubicBezTo>
                    <a:cubicBezTo>
                      <a:pt x="86" y="487"/>
                      <a:pt x="86" y="487"/>
                      <a:pt x="86" y="487"/>
                    </a:cubicBezTo>
                    <a:cubicBezTo>
                      <a:pt x="82" y="511"/>
                      <a:pt x="80" y="536"/>
                      <a:pt x="80" y="561"/>
                    </a:cubicBezTo>
                    <a:cubicBezTo>
                      <a:pt x="80" y="586"/>
                      <a:pt x="82" y="611"/>
                      <a:pt x="86" y="635"/>
                    </a:cubicBezTo>
                    <a:cubicBezTo>
                      <a:pt x="133" y="635"/>
                      <a:pt x="133" y="635"/>
                      <a:pt x="133" y="635"/>
                    </a:cubicBezTo>
                    <a:cubicBezTo>
                      <a:pt x="151" y="635"/>
                      <a:pt x="167" y="648"/>
                      <a:pt x="172" y="665"/>
                    </a:cubicBezTo>
                    <a:cubicBezTo>
                      <a:pt x="181" y="698"/>
                      <a:pt x="194" y="729"/>
                      <a:pt x="211" y="759"/>
                    </a:cubicBezTo>
                    <a:cubicBezTo>
                      <a:pt x="220" y="775"/>
                      <a:pt x="217" y="795"/>
                      <a:pt x="205" y="807"/>
                    </a:cubicBezTo>
                    <a:cubicBezTo>
                      <a:pt x="171" y="841"/>
                      <a:pt x="171" y="841"/>
                      <a:pt x="171" y="841"/>
                    </a:cubicBezTo>
                    <a:cubicBezTo>
                      <a:pt x="200" y="881"/>
                      <a:pt x="236" y="916"/>
                      <a:pt x="276" y="946"/>
                    </a:cubicBezTo>
                    <a:cubicBezTo>
                      <a:pt x="310" y="913"/>
                      <a:pt x="310" y="913"/>
                      <a:pt x="310" y="913"/>
                    </a:cubicBezTo>
                    <a:cubicBezTo>
                      <a:pt x="322" y="900"/>
                      <a:pt x="342" y="897"/>
                      <a:pt x="358" y="906"/>
                    </a:cubicBezTo>
                    <a:cubicBezTo>
                      <a:pt x="388" y="923"/>
                      <a:pt x="419" y="936"/>
                      <a:pt x="452" y="945"/>
                    </a:cubicBezTo>
                    <a:cubicBezTo>
                      <a:pt x="469" y="950"/>
                      <a:pt x="482" y="966"/>
                      <a:pt x="482" y="984"/>
                    </a:cubicBezTo>
                    <a:cubicBezTo>
                      <a:pt x="482" y="1031"/>
                      <a:pt x="482" y="1031"/>
                      <a:pt x="482" y="1031"/>
                    </a:cubicBezTo>
                    <a:cubicBezTo>
                      <a:pt x="531" y="1039"/>
                      <a:pt x="581" y="1039"/>
                      <a:pt x="630" y="1031"/>
                    </a:cubicBezTo>
                    <a:cubicBezTo>
                      <a:pt x="630" y="984"/>
                      <a:pt x="630" y="984"/>
                      <a:pt x="630" y="984"/>
                    </a:cubicBezTo>
                    <a:cubicBezTo>
                      <a:pt x="630" y="966"/>
                      <a:pt x="642" y="950"/>
                      <a:pt x="660" y="945"/>
                    </a:cubicBezTo>
                    <a:cubicBezTo>
                      <a:pt x="693" y="936"/>
                      <a:pt x="724" y="923"/>
                      <a:pt x="754" y="906"/>
                    </a:cubicBezTo>
                    <a:cubicBezTo>
                      <a:pt x="770" y="897"/>
                      <a:pt x="790" y="900"/>
                      <a:pt x="802" y="912"/>
                    </a:cubicBezTo>
                    <a:cubicBezTo>
                      <a:pt x="836" y="946"/>
                      <a:pt x="836" y="946"/>
                      <a:pt x="836" y="946"/>
                    </a:cubicBezTo>
                    <a:cubicBezTo>
                      <a:pt x="876" y="916"/>
                      <a:pt x="912" y="881"/>
                      <a:pt x="941" y="841"/>
                    </a:cubicBezTo>
                    <a:cubicBezTo>
                      <a:pt x="907" y="807"/>
                      <a:pt x="907" y="807"/>
                      <a:pt x="907" y="807"/>
                    </a:cubicBezTo>
                    <a:cubicBezTo>
                      <a:pt x="895" y="795"/>
                      <a:pt x="892" y="775"/>
                      <a:pt x="901" y="759"/>
                    </a:cubicBezTo>
                    <a:cubicBezTo>
                      <a:pt x="918" y="729"/>
                      <a:pt x="931" y="698"/>
                      <a:pt x="940" y="665"/>
                    </a:cubicBezTo>
                    <a:cubicBezTo>
                      <a:pt x="945" y="648"/>
                      <a:pt x="961" y="635"/>
                      <a:pt x="979" y="635"/>
                    </a:cubicBezTo>
                    <a:cubicBezTo>
                      <a:pt x="1026" y="635"/>
                      <a:pt x="1026" y="635"/>
                      <a:pt x="1026" y="635"/>
                    </a:cubicBezTo>
                    <a:cubicBezTo>
                      <a:pt x="1030" y="611"/>
                      <a:pt x="1032" y="586"/>
                      <a:pt x="1032" y="561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" name="Google Shape;300;p26"/>
              <p:cNvSpPr/>
              <p:nvPr/>
            </p:nvSpPr>
            <p:spPr>
              <a:xfrm>
                <a:off x="1258888" y="3779838"/>
                <a:ext cx="803275" cy="800100"/>
              </a:xfrm>
              <a:custGeom>
                <a:avLst/>
                <a:gdLst/>
                <a:ahLst/>
                <a:cxnLst/>
                <a:rect l="l" t="t" r="r" b="b"/>
                <a:pathLst>
                  <a:path w="612" h="612" extrusionOk="0">
                    <a:moveTo>
                      <a:pt x="306" y="0"/>
                    </a:moveTo>
                    <a:cubicBezTo>
                      <a:pt x="475" y="0"/>
                      <a:pt x="612" y="137"/>
                      <a:pt x="612" y="306"/>
                    </a:cubicBezTo>
                    <a:cubicBezTo>
                      <a:pt x="612" y="475"/>
                      <a:pt x="475" y="612"/>
                      <a:pt x="306" y="612"/>
                    </a:cubicBezTo>
                    <a:cubicBezTo>
                      <a:pt x="137" y="612"/>
                      <a:pt x="0" y="475"/>
                      <a:pt x="0" y="306"/>
                    </a:cubicBezTo>
                    <a:cubicBezTo>
                      <a:pt x="0" y="137"/>
                      <a:pt x="137" y="0"/>
                      <a:pt x="306" y="0"/>
                    </a:cubicBezTo>
                    <a:close/>
                    <a:moveTo>
                      <a:pt x="532" y="306"/>
                    </a:moveTo>
                    <a:cubicBezTo>
                      <a:pt x="532" y="182"/>
                      <a:pt x="430" y="80"/>
                      <a:pt x="306" y="80"/>
                    </a:cubicBezTo>
                    <a:cubicBezTo>
                      <a:pt x="181" y="80"/>
                      <a:pt x="80" y="182"/>
                      <a:pt x="80" y="306"/>
                    </a:cubicBezTo>
                    <a:cubicBezTo>
                      <a:pt x="80" y="430"/>
                      <a:pt x="181" y="532"/>
                      <a:pt x="306" y="532"/>
                    </a:cubicBezTo>
                    <a:cubicBezTo>
                      <a:pt x="430" y="532"/>
                      <a:pt x="532" y="430"/>
                      <a:pt x="532" y="306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1" name="Google Shape;301;p26"/>
              <p:cNvSpPr/>
              <p:nvPr/>
            </p:nvSpPr>
            <p:spPr>
              <a:xfrm>
                <a:off x="1382712" y="2860674"/>
                <a:ext cx="555625" cy="106362"/>
              </a:xfrm>
              <a:custGeom>
                <a:avLst/>
                <a:gdLst/>
                <a:ahLst/>
                <a:cxnLst/>
                <a:rect l="l" t="t" r="r" b="b"/>
                <a:pathLst>
                  <a:path w="424" h="81" extrusionOk="0">
                    <a:moveTo>
                      <a:pt x="384" y="0"/>
                    </a:moveTo>
                    <a:cubicBezTo>
                      <a:pt x="406" y="0"/>
                      <a:pt x="424" y="18"/>
                      <a:pt x="424" y="41"/>
                    </a:cubicBezTo>
                    <a:cubicBezTo>
                      <a:pt x="424" y="63"/>
                      <a:pt x="406" y="81"/>
                      <a:pt x="384" y="81"/>
                    </a:cubicBezTo>
                    <a:cubicBezTo>
                      <a:pt x="40" y="81"/>
                      <a:pt x="40" y="81"/>
                      <a:pt x="40" y="81"/>
                    </a:cubicBezTo>
                    <a:cubicBezTo>
                      <a:pt x="18" y="81"/>
                      <a:pt x="0" y="63"/>
                      <a:pt x="0" y="41"/>
                    </a:cubicBezTo>
                    <a:cubicBezTo>
                      <a:pt x="0" y="18"/>
                      <a:pt x="18" y="0"/>
                      <a:pt x="40" y="0"/>
                    </a:cubicBezTo>
                    <a:lnTo>
                      <a:pt x="384" y="0"/>
                    </a:ln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02" name="Google Shape;302;p26"/>
            <p:cNvGrpSpPr/>
            <p:nvPr/>
          </p:nvGrpSpPr>
          <p:grpSpPr>
            <a:xfrm>
              <a:off x="7454179" y="2048436"/>
              <a:ext cx="485595" cy="449287"/>
              <a:chOff x="-461963" y="2084387"/>
              <a:chExt cx="3121025" cy="2887663"/>
            </a:xfrm>
          </p:grpSpPr>
          <p:sp>
            <p:nvSpPr>
              <p:cNvPr id="303" name="Google Shape;303;p26"/>
              <p:cNvSpPr/>
              <p:nvPr/>
            </p:nvSpPr>
            <p:spPr>
              <a:xfrm>
                <a:off x="-404813" y="3038475"/>
                <a:ext cx="3003550" cy="1882775"/>
              </a:xfrm>
              <a:custGeom>
                <a:avLst/>
                <a:gdLst/>
                <a:ahLst/>
                <a:cxnLst/>
                <a:rect l="l" t="t" r="r" b="b"/>
                <a:pathLst>
                  <a:path w="1892" h="1186" extrusionOk="0">
                    <a:moveTo>
                      <a:pt x="266" y="0"/>
                    </a:moveTo>
                    <a:lnTo>
                      <a:pt x="258" y="309"/>
                    </a:lnTo>
                    <a:lnTo>
                      <a:pt x="842" y="629"/>
                    </a:lnTo>
                    <a:lnTo>
                      <a:pt x="947" y="567"/>
                    </a:lnTo>
                    <a:lnTo>
                      <a:pt x="1059" y="629"/>
                    </a:lnTo>
                    <a:lnTo>
                      <a:pt x="1630" y="309"/>
                    </a:lnTo>
                    <a:lnTo>
                      <a:pt x="1630" y="0"/>
                    </a:lnTo>
                    <a:lnTo>
                      <a:pt x="1892" y="182"/>
                    </a:lnTo>
                    <a:lnTo>
                      <a:pt x="1892" y="1173"/>
                    </a:lnTo>
                    <a:lnTo>
                      <a:pt x="0" y="1186"/>
                    </a:lnTo>
                    <a:lnTo>
                      <a:pt x="0" y="185"/>
                    </a:lnTo>
                    <a:lnTo>
                      <a:pt x="26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" name="Google Shape;304;p26"/>
              <p:cNvSpPr/>
              <p:nvPr/>
            </p:nvSpPr>
            <p:spPr>
              <a:xfrm>
                <a:off x="-461963" y="2084387"/>
                <a:ext cx="3121025" cy="2887663"/>
              </a:xfrm>
              <a:custGeom>
                <a:avLst/>
                <a:gdLst/>
                <a:ahLst/>
                <a:cxnLst/>
                <a:rect l="l" t="t" r="r" b="b"/>
                <a:pathLst>
                  <a:path w="1449" h="1344" extrusionOk="0">
                    <a:moveTo>
                      <a:pt x="1449" y="577"/>
                    </a:moveTo>
                    <a:cubicBezTo>
                      <a:pt x="1449" y="1320"/>
                      <a:pt x="1449" y="1320"/>
                      <a:pt x="1449" y="1320"/>
                    </a:cubicBezTo>
                    <a:cubicBezTo>
                      <a:pt x="1449" y="1333"/>
                      <a:pt x="1438" y="1344"/>
                      <a:pt x="1425" y="1344"/>
                    </a:cubicBezTo>
                    <a:cubicBezTo>
                      <a:pt x="24" y="1344"/>
                      <a:pt x="24" y="1344"/>
                      <a:pt x="24" y="1344"/>
                    </a:cubicBezTo>
                    <a:cubicBezTo>
                      <a:pt x="11" y="1344"/>
                      <a:pt x="0" y="1333"/>
                      <a:pt x="0" y="1320"/>
                    </a:cubicBezTo>
                    <a:cubicBezTo>
                      <a:pt x="0" y="577"/>
                      <a:pt x="0" y="577"/>
                      <a:pt x="0" y="577"/>
                    </a:cubicBezTo>
                    <a:cubicBezTo>
                      <a:pt x="0" y="568"/>
                      <a:pt x="4" y="561"/>
                      <a:pt x="11" y="557"/>
                    </a:cubicBezTo>
                    <a:cubicBezTo>
                      <a:pt x="196" y="434"/>
                      <a:pt x="196" y="434"/>
                      <a:pt x="196" y="434"/>
                    </a:cubicBezTo>
                    <a:cubicBezTo>
                      <a:pt x="196" y="24"/>
                      <a:pt x="196" y="24"/>
                      <a:pt x="196" y="24"/>
                    </a:cubicBezTo>
                    <a:cubicBezTo>
                      <a:pt x="196" y="11"/>
                      <a:pt x="207" y="0"/>
                      <a:pt x="220" y="0"/>
                    </a:cubicBezTo>
                    <a:cubicBezTo>
                      <a:pt x="1229" y="0"/>
                      <a:pt x="1229" y="0"/>
                      <a:pt x="1229" y="0"/>
                    </a:cubicBezTo>
                    <a:cubicBezTo>
                      <a:pt x="1243" y="0"/>
                      <a:pt x="1253" y="11"/>
                      <a:pt x="1253" y="24"/>
                    </a:cubicBezTo>
                    <a:cubicBezTo>
                      <a:pt x="1253" y="434"/>
                      <a:pt x="1253" y="434"/>
                      <a:pt x="1253" y="434"/>
                    </a:cubicBezTo>
                    <a:cubicBezTo>
                      <a:pt x="1438" y="557"/>
                      <a:pt x="1438" y="557"/>
                      <a:pt x="1438" y="557"/>
                    </a:cubicBezTo>
                    <a:cubicBezTo>
                      <a:pt x="1445" y="561"/>
                      <a:pt x="1449" y="568"/>
                      <a:pt x="1449" y="577"/>
                    </a:cubicBezTo>
                    <a:close/>
                    <a:moveTo>
                      <a:pt x="1401" y="1275"/>
                    </a:moveTo>
                    <a:cubicBezTo>
                      <a:pt x="1401" y="617"/>
                      <a:pt x="1401" y="617"/>
                      <a:pt x="1401" y="617"/>
                    </a:cubicBezTo>
                    <a:cubicBezTo>
                      <a:pt x="849" y="909"/>
                      <a:pt x="849" y="909"/>
                      <a:pt x="849" y="909"/>
                    </a:cubicBezTo>
                    <a:lnTo>
                      <a:pt x="1401" y="1275"/>
                    </a:lnTo>
                    <a:close/>
                    <a:moveTo>
                      <a:pt x="1253" y="553"/>
                    </a:moveTo>
                    <a:cubicBezTo>
                      <a:pt x="1345" y="553"/>
                      <a:pt x="1345" y="553"/>
                      <a:pt x="1345" y="553"/>
                    </a:cubicBezTo>
                    <a:cubicBezTo>
                      <a:pt x="1253" y="492"/>
                      <a:pt x="1253" y="492"/>
                      <a:pt x="1253" y="492"/>
                    </a:cubicBezTo>
                    <a:lnTo>
                      <a:pt x="1253" y="553"/>
                    </a:lnTo>
                    <a:close/>
                    <a:moveTo>
                      <a:pt x="104" y="1296"/>
                    </a:moveTo>
                    <a:cubicBezTo>
                      <a:pt x="1345" y="1296"/>
                      <a:pt x="1345" y="1296"/>
                      <a:pt x="1345" y="1296"/>
                    </a:cubicBezTo>
                    <a:cubicBezTo>
                      <a:pt x="725" y="884"/>
                      <a:pt x="725" y="884"/>
                      <a:pt x="725" y="884"/>
                    </a:cubicBezTo>
                    <a:lnTo>
                      <a:pt x="104" y="1296"/>
                    </a:lnTo>
                    <a:close/>
                    <a:moveTo>
                      <a:pt x="1253" y="641"/>
                    </a:moveTo>
                    <a:cubicBezTo>
                      <a:pt x="1329" y="601"/>
                      <a:pt x="1329" y="601"/>
                      <a:pt x="1329" y="601"/>
                    </a:cubicBezTo>
                    <a:cubicBezTo>
                      <a:pt x="1253" y="601"/>
                      <a:pt x="1253" y="601"/>
                      <a:pt x="1253" y="601"/>
                    </a:cubicBezTo>
                    <a:lnTo>
                      <a:pt x="1253" y="641"/>
                    </a:lnTo>
                    <a:close/>
                    <a:moveTo>
                      <a:pt x="1205" y="666"/>
                    </a:moveTo>
                    <a:cubicBezTo>
                      <a:pt x="1205" y="48"/>
                      <a:pt x="1205" y="48"/>
                      <a:pt x="1205" y="48"/>
                    </a:cubicBezTo>
                    <a:cubicBezTo>
                      <a:pt x="244" y="48"/>
                      <a:pt x="244" y="48"/>
                      <a:pt x="244" y="48"/>
                    </a:cubicBezTo>
                    <a:cubicBezTo>
                      <a:pt x="244" y="666"/>
                      <a:pt x="244" y="666"/>
                      <a:pt x="244" y="666"/>
                    </a:cubicBezTo>
                    <a:cubicBezTo>
                      <a:pt x="645" y="879"/>
                      <a:pt x="645" y="879"/>
                      <a:pt x="645" y="879"/>
                    </a:cubicBezTo>
                    <a:cubicBezTo>
                      <a:pt x="711" y="836"/>
                      <a:pt x="711" y="836"/>
                      <a:pt x="711" y="836"/>
                    </a:cubicBezTo>
                    <a:cubicBezTo>
                      <a:pt x="719" y="830"/>
                      <a:pt x="730" y="830"/>
                      <a:pt x="738" y="836"/>
                    </a:cubicBezTo>
                    <a:cubicBezTo>
                      <a:pt x="804" y="879"/>
                      <a:pt x="804" y="879"/>
                      <a:pt x="804" y="879"/>
                    </a:cubicBezTo>
                    <a:lnTo>
                      <a:pt x="1205" y="666"/>
                    </a:lnTo>
                    <a:close/>
                    <a:moveTo>
                      <a:pt x="48" y="1275"/>
                    </a:moveTo>
                    <a:cubicBezTo>
                      <a:pt x="600" y="909"/>
                      <a:pt x="600" y="909"/>
                      <a:pt x="600" y="909"/>
                    </a:cubicBezTo>
                    <a:cubicBezTo>
                      <a:pt x="48" y="617"/>
                      <a:pt x="48" y="617"/>
                      <a:pt x="48" y="617"/>
                    </a:cubicBezTo>
                    <a:lnTo>
                      <a:pt x="48" y="1275"/>
                    </a:lnTo>
                    <a:close/>
                    <a:moveTo>
                      <a:pt x="196" y="641"/>
                    </a:moveTo>
                    <a:cubicBezTo>
                      <a:pt x="196" y="601"/>
                      <a:pt x="196" y="601"/>
                      <a:pt x="196" y="601"/>
                    </a:cubicBezTo>
                    <a:cubicBezTo>
                      <a:pt x="120" y="601"/>
                      <a:pt x="120" y="601"/>
                      <a:pt x="120" y="601"/>
                    </a:cubicBezTo>
                    <a:lnTo>
                      <a:pt x="196" y="641"/>
                    </a:lnTo>
                    <a:close/>
                    <a:moveTo>
                      <a:pt x="196" y="553"/>
                    </a:moveTo>
                    <a:cubicBezTo>
                      <a:pt x="196" y="492"/>
                      <a:pt x="196" y="492"/>
                      <a:pt x="196" y="492"/>
                    </a:cubicBezTo>
                    <a:cubicBezTo>
                      <a:pt x="104" y="553"/>
                      <a:pt x="104" y="553"/>
                      <a:pt x="104" y="553"/>
                    </a:cubicBezTo>
                    <a:lnTo>
                      <a:pt x="196" y="553"/>
                    </a:lnTo>
                    <a:close/>
                    <a:moveTo>
                      <a:pt x="196" y="553"/>
                    </a:moveTo>
                    <a:cubicBezTo>
                      <a:pt x="196" y="553"/>
                      <a:pt x="196" y="553"/>
                      <a:pt x="196" y="553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05" name="Google Shape;305;p26"/>
            <p:cNvGrpSpPr/>
            <p:nvPr/>
          </p:nvGrpSpPr>
          <p:grpSpPr>
            <a:xfrm>
              <a:off x="4277341" y="5042506"/>
              <a:ext cx="352848" cy="340304"/>
              <a:chOff x="-9525" y="1617663"/>
              <a:chExt cx="2724151" cy="2627313"/>
            </a:xfrm>
          </p:grpSpPr>
          <p:sp>
            <p:nvSpPr>
              <p:cNvPr id="306" name="Google Shape;306;p26"/>
              <p:cNvSpPr/>
              <p:nvPr/>
            </p:nvSpPr>
            <p:spPr>
              <a:xfrm>
                <a:off x="50800" y="3503613"/>
                <a:ext cx="1855788" cy="68897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" name="Google Shape;307;p26"/>
              <p:cNvSpPr/>
              <p:nvPr/>
            </p:nvSpPr>
            <p:spPr>
              <a:xfrm>
                <a:off x="2292350" y="3503613"/>
                <a:ext cx="368300" cy="688975"/>
              </a:xfrm>
              <a:prstGeom prst="rect">
                <a:avLst/>
              </a:prstGeom>
              <a:solidFill>
                <a:srgbClr val="BFBFB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" name="Google Shape;308;p26"/>
              <p:cNvSpPr/>
              <p:nvPr/>
            </p:nvSpPr>
            <p:spPr>
              <a:xfrm>
                <a:off x="-9525" y="3435351"/>
                <a:ext cx="2724151" cy="809625"/>
              </a:xfrm>
              <a:custGeom>
                <a:avLst/>
                <a:gdLst/>
                <a:ahLst/>
                <a:cxnLst/>
                <a:rect l="l" t="t" r="r" b="b"/>
                <a:pathLst>
                  <a:path w="1264" h="377" extrusionOk="0">
                    <a:moveTo>
                      <a:pt x="1264" y="354"/>
                    </a:moveTo>
                    <a:cubicBezTo>
                      <a:pt x="1264" y="24"/>
                      <a:pt x="1264" y="24"/>
                      <a:pt x="1264" y="24"/>
                    </a:cubicBezTo>
                    <a:cubicBezTo>
                      <a:pt x="1264" y="11"/>
                      <a:pt x="1253" y="0"/>
                      <a:pt x="12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54"/>
                      <a:pt x="0" y="354"/>
                      <a:pt x="0" y="354"/>
                    </a:cubicBezTo>
                    <a:cubicBezTo>
                      <a:pt x="0" y="366"/>
                      <a:pt x="8" y="375"/>
                      <a:pt x="20" y="377"/>
                    </a:cubicBezTo>
                    <a:cubicBezTo>
                      <a:pt x="1244" y="377"/>
                      <a:pt x="1244" y="377"/>
                      <a:pt x="1244" y="377"/>
                    </a:cubicBezTo>
                    <a:cubicBezTo>
                      <a:pt x="1255" y="375"/>
                      <a:pt x="1264" y="366"/>
                      <a:pt x="1264" y="354"/>
                    </a:cubicBezTo>
                    <a:close/>
                    <a:moveTo>
                      <a:pt x="870" y="330"/>
                    </a:moveTo>
                    <a:cubicBezTo>
                      <a:pt x="48" y="330"/>
                      <a:pt x="48" y="330"/>
                      <a:pt x="48" y="330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870" y="48"/>
                      <a:pt x="870" y="48"/>
                      <a:pt x="870" y="48"/>
                    </a:cubicBezTo>
                    <a:lnTo>
                      <a:pt x="870" y="330"/>
                    </a:lnTo>
                    <a:close/>
                    <a:moveTo>
                      <a:pt x="1043" y="330"/>
                    </a:moveTo>
                    <a:cubicBezTo>
                      <a:pt x="918" y="330"/>
                      <a:pt x="918" y="330"/>
                      <a:pt x="918" y="330"/>
                    </a:cubicBezTo>
                    <a:cubicBezTo>
                      <a:pt x="918" y="48"/>
                      <a:pt x="918" y="48"/>
                      <a:pt x="918" y="48"/>
                    </a:cubicBezTo>
                    <a:cubicBezTo>
                      <a:pt x="1043" y="48"/>
                      <a:pt x="1043" y="48"/>
                      <a:pt x="1043" y="48"/>
                    </a:cubicBezTo>
                    <a:lnTo>
                      <a:pt x="1043" y="330"/>
                    </a:lnTo>
                    <a:close/>
                    <a:moveTo>
                      <a:pt x="1216" y="330"/>
                    </a:moveTo>
                    <a:cubicBezTo>
                      <a:pt x="1091" y="330"/>
                      <a:pt x="1091" y="330"/>
                      <a:pt x="1091" y="330"/>
                    </a:cubicBezTo>
                    <a:cubicBezTo>
                      <a:pt x="1091" y="48"/>
                      <a:pt x="1091" y="48"/>
                      <a:pt x="1091" y="48"/>
                    </a:cubicBezTo>
                    <a:cubicBezTo>
                      <a:pt x="1216" y="48"/>
                      <a:pt x="1216" y="48"/>
                      <a:pt x="1216" y="48"/>
                    </a:cubicBezTo>
                    <a:lnTo>
                      <a:pt x="1216" y="330"/>
                    </a:lnTo>
                    <a:close/>
                  </a:path>
                </a:pathLst>
              </a:custGeom>
              <a:solidFill>
                <a:srgbClr val="262626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9" name="Google Shape;309;p26"/>
              <p:cNvSpPr/>
              <p:nvPr/>
            </p:nvSpPr>
            <p:spPr>
              <a:xfrm>
                <a:off x="50800" y="2593976"/>
                <a:ext cx="1855788" cy="68897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" name="Google Shape;310;p26"/>
              <p:cNvSpPr/>
              <p:nvPr/>
            </p:nvSpPr>
            <p:spPr>
              <a:xfrm>
                <a:off x="2292350" y="2593976"/>
                <a:ext cx="368300" cy="688975"/>
              </a:xfrm>
              <a:prstGeom prst="rect">
                <a:avLst/>
              </a:prstGeom>
              <a:solidFill>
                <a:srgbClr val="BFBFB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" name="Google Shape;311;p26"/>
              <p:cNvSpPr/>
              <p:nvPr/>
            </p:nvSpPr>
            <p:spPr>
              <a:xfrm>
                <a:off x="-9525" y="2525713"/>
                <a:ext cx="2724151" cy="812800"/>
              </a:xfrm>
              <a:custGeom>
                <a:avLst/>
                <a:gdLst/>
                <a:ahLst/>
                <a:cxnLst/>
                <a:rect l="l" t="t" r="r" b="b"/>
                <a:pathLst>
                  <a:path w="1264" h="378" extrusionOk="0">
                    <a:moveTo>
                      <a:pt x="1264" y="354"/>
                    </a:moveTo>
                    <a:cubicBezTo>
                      <a:pt x="1264" y="24"/>
                      <a:pt x="1264" y="24"/>
                      <a:pt x="1264" y="24"/>
                    </a:cubicBezTo>
                    <a:cubicBezTo>
                      <a:pt x="1264" y="11"/>
                      <a:pt x="1253" y="0"/>
                      <a:pt x="12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54"/>
                      <a:pt x="0" y="354"/>
                      <a:pt x="0" y="354"/>
                    </a:cubicBezTo>
                    <a:cubicBezTo>
                      <a:pt x="0" y="366"/>
                      <a:pt x="8" y="376"/>
                      <a:pt x="20" y="378"/>
                    </a:cubicBezTo>
                    <a:cubicBezTo>
                      <a:pt x="1244" y="378"/>
                      <a:pt x="1244" y="378"/>
                      <a:pt x="1244" y="378"/>
                    </a:cubicBezTo>
                    <a:cubicBezTo>
                      <a:pt x="1255" y="376"/>
                      <a:pt x="1264" y="366"/>
                      <a:pt x="1264" y="354"/>
                    </a:cubicBezTo>
                    <a:close/>
                    <a:moveTo>
                      <a:pt x="870" y="330"/>
                    </a:moveTo>
                    <a:cubicBezTo>
                      <a:pt x="48" y="330"/>
                      <a:pt x="48" y="330"/>
                      <a:pt x="48" y="330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870" y="48"/>
                      <a:pt x="870" y="48"/>
                      <a:pt x="870" y="48"/>
                    </a:cubicBezTo>
                    <a:lnTo>
                      <a:pt x="870" y="330"/>
                    </a:lnTo>
                    <a:close/>
                    <a:moveTo>
                      <a:pt x="1043" y="330"/>
                    </a:moveTo>
                    <a:cubicBezTo>
                      <a:pt x="918" y="330"/>
                      <a:pt x="918" y="330"/>
                      <a:pt x="918" y="330"/>
                    </a:cubicBezTo>
                    <a:cubicBezTo>
                      <a:pt x="918" y="48"/>
                      <a:pt x="918" y="48"/>
                      <a:pt x="918" y="48"/>
                    </a:cubicBezTo>
                    <a:cubicBezTo>
                      <a:pt x="1043" y="48"/>
                      <a:pt x="1043" y="48"/>
                      <a:pt x="1043" y="48"/>
                    </a:cubicBezTo>
                    <a:lnTo>
                      <a:pt x="1043" y="330"/>
                    </a:lnTo>
                    <a:close/>
                    <a:moveTo>
                      <a:pt x="1216" y="330"/>
                    </a:moveTo>
                    <a:cubicBezTo>
                      <a:pt x="1091" y="330"/>
                      <a:pt x="1091" y="330"/>
                      <a:pt x="1091" y="330"/>
                    </a:cubicBezTo>
                    <a:cubicBezTo>
                      <a:pt x="1091" y="48"/>
                      <a:pt x="1091" y="48"/>
                      <a:pt x="1091" y="48"/>
                    </a:cubicBezTo>
                    <a:cubicBezTo>
                      <a:pt x="1216" y="48"/>
                      <a:pt x="1216" y="48"/>
                      <a:pt x="1216" y="48"/>
                    </a:cubicBezTo>
                    <a:lnTo>
                      <a:pt x="1216" y="330"/>
                    </a:lnTo>
                    <a:close/>
                  </a:path>
                </a:pathLst>
              </a:custGeom>
              <a:solidFill>
                <a:srgbClr val="262626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26"/>
              <p:cNvSpPr/>
              <p:nvPr/>
            </p:nvSpPr>
            <p:spPr>
              <a:xfrm>
                <a:off x="50800" y="1685926"/>
                <a:ext cx="1855788" cy="68897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3" name="Google Shape;313;p26"/>
              <p:cNvSpPr/>
              <p:nvPr/>
            </p:nvSpPr>
            <p:spPr>
              <a:xfrm>
                <a:off x="2292350" y="1685926"/>
                <a:ext cx="368300" cy="688975"/>
              </a:xfrm>
              <a:prstGeom prst="rect">
                <a:avLst/>
              </a:prstGeom>
              <a:solidFill>
                <a:srgbClr val="BFBFB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" name="Google Shape;314;p26"/>
              <p:cNvSpPr/>
              <p:nvPr/>
            </p:nvSpPr>
            <p:spPr>
              <a:xfrm>
                <a:off x="-9525" y="1617663"/>
                <a:ext cx="2724151" cy="811213"/>
              </a:xfrm>
              <a:custGeom>
                <a:avLst/>
                <a:gdLst/>
                <a:ahLst/>
                <a:cxnLst/>
                <a:rect l="l" t="t" r="r" b="b"/>
                <a:pathLst>
                  <a:path w="1264" h="377" extrusionOk="0">
                    <a:moveTo>
                      <a:pt x="1264" y="353"/>
                    </a:moveTo>
                    <a:cubicBezTo>
                      <a:pt x="1264" y="24"/>
                      <a:pt x="1264" y="24"/>
                      <a:pt x="1264" y="24"/>
                    </a:cubicBezTo>
                    <a:cubicBezTo>
                      <a:pt x="1264" y="10"/>
                      <a:pt x="1253" y="0"/>
                      <a:pt x="12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0"/>
                      <a:pt x="0" y="24"/>
                    </a:cubicBezTo>
                    <a:cubicBezTo>
                      <a:pt x="0" y="353"/>
                      <a:pt x="0" y="353"/>
                      <a:pt x="0" y="353"/>
                    </a:cubicBezTo>
                    <a:cubicBezTo>
                      <a:pt x="0" y="365"/>
                      <a:pt x="8" y="375"/>
                      <a:pt x="20" y="377"/>
                    </a:cubicBezTo>
                    <a:cubicBezTo>
                      <a:pt x="1244" y="377"/>
                      <a:pt x="1244" y="377"/>
                      <a:pt x="1244" y="377"/>
                    </a:cubicBezTo>
                    <a:cubicBezTo>
                      <a:pt x="1255" y="375"/>
                      <a:pt x="1264" y="365"/>
                      <a:pt x="1264" y="353"/>
                    </a:cubicBezTo>
                    <a:close/>
                    <a:moveTo>
                      <a:pt x="870" y="329"/>
                    </a:moveTo>
                    <a:cubicBezTo>
                      <a:pt x="48" y="329"/>
                      <a:pt x="48" y="329"/>
                      <a:pt x="48" y="329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870" y="48"/>
                      <a:pt x="870" y="48"/>
                      <a:pt x="870" y="48"/>
                    </a:cubicBezTo>
                    <a:lnTo>
                      <a:pt x="870" y="329"/>
                    </a:lnTo>
                    <a:close/>
                    <a:moveTo>
                      <a:pt x="1043" y="329"/>
                    </a:moveTo>
                    <a:cubicBezTo>
                      <a:pt x="918" y="329"/>
                      <a:pt x="918" y="329"/>
                      <a:pt x="918" y="329"/>
                    </a:cubicBezTo>
                    <a:cubicBezTo>
                      <a:pt x="918" y="48"/>
                      <a:pt x="918" y="48"/>
                      <a:pt x="918" y="48"/>
                    </a:cubicBezTo>
                    <a:cubicBezTo>
                      <a:pt x="1043" y="48"/>
                      <a:pt x="1043" y="48"/>
                      <a:pt x="1043" y="48"/>
                    </a:cubicBezTo>
                    <a:lnTo>
                      <a:pt x="1043" y="329"/>
                    </a:lnTo>
                    <a:close/>
                    <a:moveTo>
                      <a:pt x="1216" y="329"/>
                    </a:moveTo>
                    <a:cubicBezTo>
                      <a:pt x="1091" y="329"/>
                      <a:pt x="1091" y="329"/>
                      <a:pt x="1091" y="329"/>
                    </a:cubicBezTo>
                    <a:cubicBezTo>
                      <a:pt x="1091" y="48"/>
                      <a:pt x="1091" y="48"/>
                      <a:pt x="1091" y="48"/>
                    </a:cubicBezTo>
                    <a:cubicBezTo>
                      <a:pt x="1216" y="48"/>
                      <a:pt x="1216" y="48"/>
                      <a:pt x="1216" y="48"/>
                    </a:cubicBezTo>
                    <a:lnTo>
                      <a:pt x="1216" y="329"/>
                    </a:lnTo>
                    <a:close/>
                  </a:path>
                </a:pathLst>
              </a:custGeom>
              <a:solidFill>
                <a:srgbClr val="262626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15" name="Google Shape;315;p26"/>
            <p:cNvGrpSpPr/>
            <p:nvPr/>
          </p:nvGrpSpPr>
          <p:grpSpPr>
            <a:xfrm>
              <a:off x="3672988" y="3488631"/>
              <a:ext cx="420903" cy="508171"/>
              <a:chOff x="-407988" y="1982788"/>
              <a:chExt cx="2595563" cy="3133725"/>
            </a:xfrm>
          </p:grpSpPr>
          <p:sp>
            <p:nvSpPr>
              <p:cNvPr id="316" name="Google Shape;316;p26"/>
              <p:cNvSpPr/>
              <p:nvPr/>
            </p:nvSpPr>
            <p:spPr>
              <a:xfrm>
                <a:off x="122238" y="2509838"/>
                <a:ext cx="1525588" cy="1939925"/>
              </a:xfrm>
              <a:custGeom>
                <a:avLst/>
                <a:gdLst/>
                <a:ahLst/>
                <a:cxnLst/>
                <a:rect l="l" t="t" r="r" b="b"/>
                <a:pathLst>
                  <a:path w="708" h="903" extrusionOk="0">
                    <a:moveTo>
                      <a:pt x="554" y="701"/>
                    </a:moveTo>
                    <a:cubicBezTo>
                      <a:pt x="614" y="577"/>
                      <a:pt x="708" y="503"/>
                      <a:pt x="702" y="349"/>
                    </a:cubicBezTo>
                    <a:cubicBezTo>
                      <a:pt x="696" y="195"/>
                      <a:pt x="589" y="17"/>
                      <a:pt x="362" y="7"/>
                    </a:cubicBezTo>
                    <a:cubicBezTo>
                      <a:pt x="362" y="7"/>
                      <a:pt x="40" y="0"/>
                      <a:pt x="4" y="357"/>
                    </a:cubicBezTo>
                    <a:cubicBezTo>
                      <a:pt x="4" y="357"/>
                      <a:pt x="0" y="474"/>
                      <a:pt x="68" y="555"/>
                    </a:cubicBezTo>
                    <a:cubicBezTo>
                      <a:pt x="127" y="627"/>
                      <a:pt x="195" y="753"/>
                      <a:pt x="205" y="903"/>
                    </a:cubicBezTo>
                    <a:cubicBezTo>
                      <a:pt x="503" y="903"/>
                      <a:pt x="503" y="903"/>
                      <a:pt x="503" y="903"/>
                    </a:cubicBezTo>
                    <a:cubicBezTo>
                      <a:pt x="507" y="850"/>
                      <a:pt x="520" y="772"/>
                      <a:pt x="554" y="70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7" name="Google Shape;317;p26"/>
              <p:cNvSpPr/>
              <p:nvPr/>
            </p:nvSpPr>
            <p:spPr>
              <a:xfrm>
                <a:off x="493713" y="4584700"/>
                <a:ext cx="795338" cy="476250"/>
              </a:xfrm>
              <a:custGeom>
                <a:avLst/>
                <a:gdLst/>
                <a:ahLst/>
                <a:cxnLst/>
                <a:rect l="l" t="t" r="r" b="b"/>
                <a:pathLst>
                  <a:path w="369" h="222" extrusionOk="0">
                    <a:moveTo>
                      <a:pt x="37" y="3"/>
                    </a:moveTo>
                    <a:cubicBezTo>
                      <a:pt x="323" y="0"/>
                      <a:pt x="323" y="0"/>
                      <a:pt x="323" y="0"/>
                    </a:cubicBezTo>
                    <a:cubicBezTo>
                      <a:pt x="323" y="0"/>
                      <a:pt x="369" y="210"/>
                      <a:pt x="238" y="222"/>
                    </a:cubicBezTo>
                    <a:cubicBezTo>
                      <a:pt x="128" y="222"/>
                      <a:pt x="128" y="222"/>
                      <a:pt x="128" y="222"/>
                    </a:cubicBezTo>
                    <a:cubicBezTo>
                      <a:pt x="128" y="222"/>
                      <a:pt x="0" y="215"/>
                      <a:pt x="37" y="3"/>
                    </a:cubicBez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" name="Google Shape;318;p26"/>
              <p:cNvSpPr/>
              <p:nvPr/>
            </p:nvSpPr>
            <p:spPr>
              <a:xfrm>
                <a:off x="1793875" y="3224213"/>
                <a:ext cx="393700" cy="103187"/>
              </a:xfrm>
              <a:custGeom>
                <a:avLst/>
                <a:gdLst/>
                <a:ahLst/>
                <a:cxnLst/>
                <a:rect l="l" t="t" r="r" b="b"/>
                <a:pathLst>
                  <a:path w="183" h="48" extrusionOk="0">
                    <a:moveTo>
                      <a:pt x="159" y="0"/>
                    </a:moveTo>
                    <a:cubicBezTo>
                      <a:pt x="172" y="0"/>
                      <a:pt x="183" y="11"/>
                      <a:pt x="183" y="24"/>
                    </a:cubicBezTo>
                    <a:cubicBezTo>
                      <a:pt x="183" y="38"/>
                      <a:pt x="172" y="48"/>
                      <a:pt x="159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1" y="48"/>
                      <a:pt x="0" y="38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lnTo>
                      <a:pt x="159" y="0"/>
                    </a:lnTo>
                    <a:close/>
                    <a:moveTo>
                      <a:pt x="159" y="0"/>
                    </a:moveTo>
                    <a:cubicBezTo>
                      <a:pt x="159" y="0"/>
                      <a:pt x="159" y="0"/>
                      <a:pt x="159" y="0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26"/>
              <p:cNvSpPr/>
              <p:nvPr/>
            </p:nvSpPr>
            <p:spPr>
              <a:xfrm>
                <a:off x="1657350" y="2597150"/>
                <a:ext cx="371475" cy="254000"/>
              </a:xfrm>
              <a:custGeom>
                <a:avLst/>
                <a:gdLst/>
                <a:ahLst/>
                <a:cxnLst/>
                <a:rect l="l" t="t" r="r" b="b"/>
                <a:pathLst>
                  <a:path w="172" h="118" extrusionOk="0">
                    <a:moveTo>
                      <a:pt x="165" y="15"/>
                    </a:moveTo>
                    <a:cubicBezTo>
                      <a:pt x="172" y="27"/>
                      <a:pt x="168" y="41"/>
                      <a:pt x="156" y="48"/>
                    </a:cubicBezTo>
                    <a:cubicBezTo>
                      <a:pt x="40" y="115"/>
                      <a:pt x="40" y="115"/>
                      <a:pt x="40" y="115"/>
                    </a:cubicBezTo>
                    <a:cubicBezTo>
                      <a:pt x="36" y="117"/>
                      <a:pt x="32" y="118"/>
                      <a:pt x="28" y="118"/>
                    </a:cubicBezTo>
                    <a:cubicBezTo>
                      <a:pt x="20" y="118"/>
                      <a:pt x="12" y="114"/>
                      <a:pt x="7" y="106"/>
                    </a:cubicBezTo>
                    <a:cubicBezTo>
                      <a:pt x="0" y="95"/>
                      <a:pt x="4" y="80"/>
                      <a:pt x="16" y="74"/>
                    </a:cubicBezTo>
                    <a:cubicBezTo>
                      <a:pt x="132" y="6"/>
                      <a:pt x="132" y="6"/>
                      <a:pt x="132" y="6"/>
                    </a:cubicBezTo>
                    <a:cubicBezTo>
                      <a:pt x="144" y="0"/>
                      <a:pt x="158" y="4"/>
                      <a:pt x="165" y="15"/>
                    </a:cubicBezTo>
                    <a:close/>
                    <a:moveTo>
                      <a:pt x="165" y="15"/>
                    </a:moveTo>
                    <a:cubicBezTo>
                      <a:pt x="165" y="15"/>
                      <a:pt x="165" y="15"/>
                      <a:pt x="165" y="15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26"/>
              <p:cNvSpPr/>
              <p:nvPr/>
            </p:nvSpPr>
            <p:spPr>
              <a:xfrm>
                <a:off x="1657350" y="3695700"/>
                <a:ext cx="371475" cy="255587"/>
              </a:xfrm>
              <a:custGeom>
                <a:avLst/>
                <a:gdLst/>
                <a:ahLst/>
                <a:cxnLst/>
                <a:rect l="l" t="t" r="r" b="b"/>
                <a:pathLst>
                  <a:path w="172" h="119" extrusionOk="0">
                    <a:moveTo>
                      <a:pt x="156" y="74"/>
                    </a:moveTo>
                    <a:cubicBezTo>
                      <a:pt x="168" y="80"/>
                      <a:pt x="172" y="95"/>
                      <a:pt x="165" y="107"/>
                    </a:cubicBezTo>
                    <a:cubicBezTo>
                      <a:pt x="161" y="114"/>
                      <a:pt x="153" y="119"/>
                      <a:pt x="144" y="119"/>
                    </a:cubicBezTo>
                    <a:cubicBezTo>
                      <a:pt x="140" y="119"/>
                      <a:pt x="136" y="118"/>
                      <a:pt x="132" y="115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4" y="42"/>
                      <a:pt x="0" y="27"/>
                      <a:pt x="7" y="15"/>
                    </a:cubicBezTo>
                    <a:cubicBezTo>
                      <a:pt x="14" y="4"/>
                      <a:pt x="28" y="0"/>
                      <a:pt x="40" y="7"/>
                    </a:cubicBezTo>
                    <a:lnTo>
                      <a:pt x="156" y="74"/>
                    </a:lnTo>
                    <a:close/>
                    <a:moveTo>
                      <a:pt x="156" y="74"/>
                    </a:moveTo>
                    <a:cubicBezTo>
                      <a:pt x="156" y="74"/>
                      <a:pt x="156" y="74"/>
                      <a:pt x="156" y="74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1" name="Google Shape;321;p26"/>
              <p:cNvSpPr/>
              <p:nvPr/>
            </p:nvSpPr>
            <p:spPr>
              <a:xfrm>
                <a:off x="80963" y="2459038"/>
                <a:ext cx="1616075" cy="2657475"/>
              </a:xfrm>
              <a:custGeom>
                <a:avLst/>
                <a:gdLst/>
                <a:ahLst/>
                <a:cxnLst/>
                <a:rect l="l" t="t" r="r" b="b"/>
                <a:pathLst>
                  <a:path w="750" h="1237" extrusionOk="0">
                    <a:moveTo>
                      <a:pt x="750" y="376"/>
                    </a:moveTo>
                    <a:cubicBezTo>
                      <a:pt x="750" y="459"/>
                      <a:pt x="724" y="537"/>
                      <a:pt x="674" y="602"/>
                    </a:cubicBezTo>
                    <a:cubicBezTo>
                      <a:pt x="590" y="713"/>
                      <a:pt x="546" y="842"/>
                      <a:pt x="546" y="976"/>
                    </a:cubicBezTo>
                    <a:cubicBezTo>
                      <a:pt x="546" y="1120"/>
                      <a:pt x="546" y="1120"/>
                      <a:pt x="546" y="1120"/>
                    </a:cubicBezTo>
                    <a:cubicBezTo>
                      <a:pt x="546" y="1185"/>
                      <a:pt x="494" y="1237"/>
                      <a:pt x="430" y="1237"/>
                    </a:cubicBezTo>
                    <a:cubicBezTo>
                      <a:pt x="321" y="1237"/>
                      <a:pt x="321" y="1237"/>
                      <a:pt x="321" y="1237"/>
                    </a:cubicBezTo>
                    <a:cubicBezTo>
                      <a:pt x="257" y="1237"/>
                      <a:pt x="205" y="1185"/>
                      <a:pt x="205" y="1120"/>
                    </a:cubicBezTo>
                    <a:cubicBezTo>
                      <a:pt x="205" y="976"/>
                      <a:pt x="205" y="976"/>
                      <a:pt x="205" y="976"/>
                    </a:cubicBezTo>
                    <a:cubicBezTo>
                      <a:pt x="205" y="843"/>
                      <a:pt x="160" y="711"/>
                      <a:pt x="77" y="603"/>
                    </a:cubicBezTo>
                    <a:cubicBezTo>
                      <a:pt x="27" y="536"/>
                      <a:pt x="0" y="457"/>
                      <a:pt x="1" y="373"/>
                    </a:cubicBezTo>
                    <a:cubicBezTo>
                      <a:pt x="2" y="275"/>
                      <a:pt x="41" y="182"/>
                      <a:pt x="110" y="112"/>
                    </a:cubicBezTo>
                    <a:cubicBezTo>
                      <a:pt x="180" y="43"/>
                      <a:pt x="272" y="3"/>
                      <a:pt x="370" y="2"/>
                    </a:cubicBezTo>
                    <a:cubicBezTo>
                      <a:pt x="471" y="0"/>
                      <a:pt x="566" y="39"/>
                      <a:pt x="638" y="110"/>
                    </a:cubicBezTo>
                    <a:cubicBezTo>
                      <a:pt x="710" y="180"/>
                      <a:pt x="750" y="275"/>
                      <a:pt x="750" y="376"/>
                    </a:cubicBezTo>
                    <a:close/>
                    <a:moveTo>
                      <a:pt x="636" y="573"/>
                    </a:moveTo>
                    <a:cubicBezTo>
                      <a:pt x="679" y="516"/>
                      <a:pt x="702" y="448"/>
                      <a:pt x="702" y="376"/>
                    </a:cubicBezTo>
                    <a:cubicBezTo>
                      <a:pt x="702" y="288"/>
                      <a:pt x="667" y="206"/>
                      <a:pt x="604" y="144"/>
                    </a:cubicBezTo>
                    <a:cubicBezTo>
                      <a:pt x="542" y="82"/>
                      <a:pt x="459" y="49"/>
                      <a:pt x="371" y="50"/>
                    </a:cubicBezTo>
                    <a:cubicBezTo>
                      <a:pt x="195" y="52"/>
                      <a:pt x="51" y="197"/>
                      <a:pt x="49" y="373"/>
                    </a:cubicBezTo>
                    <a:cubicBezTo>
                      <a:pt x="48" y="446"/>
                      <a:pt x="71" y="516"/>
                      <a:pt x="116" y="574"/>
                    </a:cubicBezTo>
                    <a:cubicBezTo>
                      <a:pt x="202" y="688"/>
                      <a:pt x="251" y="827"/>
                      <a:pt x="253" y="967"/>
                    </a:cubicBezTo>
                    <a:cubicBezTo>
                      <a:pt x="498" y="967"/>
                      <a:pt x="498" y="967"/>
                      <a:pt x="498" y="967"/>
                    </a:cubicBezTo>
                    <a:cubicBezTo>
                      <a:pt x="500" y="825"/>
                      <a:pt x="547" y="690"/>
                      <a:pt x="636" y="573"/>
                    </a:cubicBezTo>
                    <a:close/>
                    <a:moveTo>
                      <a:pt x="498" y="1120"/>
                    </a:moveTo>
                    <a:cubicBezTo>
                      <a:pt x="498" y="1113"/>
                      <a:pt x="498" y="1113"/>
                      <a:pt x="498" y="1113"/>
                    </a:cubicBezTo>
                    <a:cubicBezTo>
                      <a:pt x="253" y="1085"/>
                      <a:pt x="253" y="1085"/>
                      <a:pt x="253" y="1085"/>
                    </a:cubicBezTo>
                    <a:cubicBezTo>
                      <a:pt x="253" y="1104"/>
                      <a:pt x="253" y="1104"/>
                      <a:pt x="253" y="1104"/>
                    </a:cubicBezTo>
                    <a:cubicBezTo>
                      <a:pt x="497" y="1132"/>
                      <a:pt x="497" y="1132"/>
                      <a:pt x="497" y="1132"/>
                    </a:cubicBezTo>
                    <a:cubicBezTo>
                      <a:pt x="498" y="1128"/>
                      <a:pt x="498" y="1124"/>
                      <a:pt x="498" y="1120"/>
                    </a:cubicBezTo>
                    <a:close/>
                    <a:moveTo>
                      <a:pt x="498" y="1064"/>
                    </a:moveTo>
                    <a:cubicBezTo>
                      <a:pt x="498" y="1015"/>
                      <a:pt x="498" y="1015"/>
                      <a:pt x="498" y="1015"/>
                    </a:cubicBezTo>
                    <a:cubicBezTo>
                      <a:pt x="253" y="1015"/>
                      <a:pt x="253" y="1015"/>
                      <a:pt x="253" y="1015"/>
                    </a:cubicBezTo>
                    <a:cubicBezTo>
                      <a:pt x="253" y="1036"/>
                      <a:pt x="253" y="1036"/>
                      <a:pt x="253" y="1036"/>
                    </a:cubicBezTo>
                    <a:lnTo>
                      <a:pt x="498" y="1064"/>
                    </a:lnTo>
                    <a:close/>
                    <a:moveTo>
                      <a:pt x="468" y="1177"/>
                    </a:moveTo>
                    <a:cubicBezTo>
                      <a:pt x="261" y="1153"/>
                      <a:pt x="261" y="1153"/>
                      <a:pt x="261" y="1153"/>
                    </a:cubicBezTo>
                    <a:cubicBezTo>
                      <a:pt x="273" y="1174"/>
                      <a:pt x="296" y="1189"/>
                      <a:pt x="321" y="1189"/>
                    </a:cubicBezTo>
                    <a:cubicBezTo>
                      <a:pt x="430" y="1189"/>
                      <a:pt x="430" y="1189"/>
                      <a:pt x="430" y="1189"/>
                    </a:cubicBezTo>
                    <a:cubicBezTo>
                      <a:pt x="444" y="1189"/>
                      <a:pt x="457" y="1184"/>
                      <a:pt x="468" y="1177"/>
                    </a:cubicBezTo>
                    <a:close/>
                    <a:moveTo>
                      <a:pt x="468" y="1177"/>
                    </a:moveTo>
                    <a:cubicBezTo>
                      <a:pt x="468" y="1177"/>
                      <a:pt x="468" y="1177"/>
                      <a:pt x="468" y="1177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" name="Google Shape;322;p26"/>
              <p:cNvSpPr/>
              <p:nvPr/>
            </p:nvSpPr>
            <p:spPr>
              <a:xfrm>
                <a:off x="1309688" y="2141538"/>
                <a:ext cx="261938" cy="360362"/>
              </a:xfrm>
              <a:custGeom>
                <a:avLst/>
                <a:gdLst/>
                <a:ahLst/>
                <a:cxnLst/>
                <a:rect l="l" t="t" r="r" b="b"/>
                <a:pathLst>
                  <a:path w="122" h="168" extrusionOk="0">
                    <a:moveTo>
                      <a:pt x="107" y="7"/>
                    </a:moveTo>
                    <a:cubicBezTo>
                      <a:pt x="118" y="13"/>
                      <a:pt x="122" y="28"/>
                      <a:pt x="115" y="39"/>
                    </a:cubicBezTo>
                    <a:cubicBezTo>
                      <a:pt x="48" y="156"/>
                      <a:pt x="48" y="156"/>
                      <a:pt x="48" y="156"/>
                    </a:cubicBezTo>
                    <a:cubicBezTo>
                      <a:pt x="44" y="164"/>
                      <a:pt x="36" y="168"/>
                      <a:pt x="27" y="168"/>
                    </a:cubicBezTo>
                    <a:cubicBezTo>
                      <a:pt x="23" y="168"/>
                      <a:pt x="19" y="167"/>
                      <a:pt x="15" y="165"/>
                    </a:cubicBezTo>
                    <a:cubicBezTo>
                      <a:pt x="4" y="158"/>
                      <a:pt x="0" y="143"/>
                      <a:pt x="7" y="132"/>
                    </a:cubicBezTo>
                    <a:cubicBezTo>
                      <a:pt x="74" y="15"/>
                      <a:pt x="74" y="15"/>
                      <a:pt x="74" y="15"/>
                    </a:cubicBezTo>
                    <a:cubicBezTo>
                      <a:pt x="80" y="4"/>
                      <a:pt x="95" y="0"/>
                      <a:pt x="107" y="7"/>
                    </a:cubicBezTo>
                    <a:close/>
                    <a:moveTo>
                      <a:pt x="107" y="7"/>
                    </a:moveTo>
                    <a:cubicBezTo>
                      <a:pt x="107" y="7"/>
                      <a:pt x="107" y="7"/>
                      <a:pt x="107" y="7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3" name="Google Shape;323;p26"/>
              <p:cNvSpPr/>
              <p:nvPr/>
            </p:nvSpPr>
            <p:spPr>
              <a:xfrm>
                <a:off x="836613" y="1982788"/>
                <a:ext cx="103188" cy="390525"/>
              </a:xfrm>
              <a:custGeom>
                <a:avLst/>
                <a:gdLst/>
                <a:ahLst/>
                <a:cxnLst/>
                <a:rect l="l" t="t" r="r" b="b"/>
                <a:pathLst>
                  <a:path w="48" h="182" extrusionOk="0">
                    <a:moveTo>
                      <a:pt x="48" y="24"/>
                    </a:moveTo>
                    <a:cubicBezTo>
                      <a:pt x="48" y="158"/>
                      <a:pt x="48" y="158"/>
                      <a:pt x="48" y="158"/>
                    </a:cubicBezTo>
                    <a:cubicBezTo>
                      <a:pt x="48" y="172"/>
                      <a:pt x="38" y="182"/>
                      <a:pt x="24" y="182"/>
                    </a:cubicBezTo>
                    <a:cubicBezTo>
                      <a:pt x="11" y="182"/>
                      <a:pt x="0" y="172"/>
                      <a:pt x="0" y="158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8" y="11"/>
                      <a:pt x="48" y="24"/>
                    </a:cubicBezTo>
                    <a:close/>
                    <a:moveTo>
                      <a:pt x="48" y="24"/>
                    </a:moveTo>
                    <a:cubicBezTo>
                      <a:pt x="48" y="24"/>
                      <a:pt x="48" y="24"/>
                      <a:pt x="48" y="24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" name="Google Shape;324;p26"/>
              <p:cNvSpPr/>
              <p:nvPr/>
            </p:nvSpPr>
            <p:spPr>
              <a:xfrm>
                <a:off x="207963" y="2141538"/>
                <a:ext cx="263525" cy="360362"/>
              </a:xfrm>
              <a:custGeom>
                <a:avLst/>
                <a:gdLst/>
                <a:ahLst/>
                <a:cxnLst/>
                <a:rect l="l" t="t" r="r" b="b"/>
                <a:pathLst>
                  <a:path w="122" h="168" extrusionOk="0">
                    <a:moveTo>
                      <a:pt x="115" y="132"/>
                    </a:moveTo>
                    <a:cubicBezTo>
                      <a:pt x="122" y="143"/>
                      <a:pt x="118" y="158"/>
                      <a:pt x="106" y="165"/>
                    </a:cubicBezTo>
                    <a:cubicBezTo>
                      <a:pt x="103" y="167"/>
                      <a:pt x="98" y="168"/>
                      <a:pt x="94" y="168"/>
                    </a:cubicBezTo>
                    <a:cubicBezTo>
                      <a:pt x="86" y="168"/>
                      <a:pt x="78" y="164"/>
                      <a:pt x="74" y="156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0" y="28"/>
                      <a:pt x="4" y="13"/>
                      <a:pt x="15" y="7"/>
                    </a:cubicBezTo>
                    <a:cubicBezTo>
                      <a:pt x="27" y="0"/>
                      <a:pt x="41" y="4"/>
                      <a:pt x="48" y="15"/>
                    </a:cubicBezTo>
                    <a:lnTo>
                      <a:pt x="115" y="132"/>
                    </a:lnTo>
                    <a:close/>
                    <a:moveTo>
                      <a:pt x="115" y="132"/>
                    </a:moveTo>
                    <a:cubicBezTo>
                      <a:pt x="115" y="132"/>
                      <a:pt x="115" y="132"/>
                      <a:pt x="115" y="132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26"/>
              <p:cNvSpPr/>
              <p:nvPr/>
            </p:nvSpPr>
            <p:spPr>
              <a:xfrm>
                <a:off x="-249237" y="2597150"/>
                <a:ext cx="368300" cy="254000"/>
              </a:xfrm>
              <a:custGeom>
                <a:avLst/>
                <a:gdLst/>
                <a:ahLst/>
                <a:cxnLst/>
                <a:rect l="l" t="t" r="r" b="b"/>
                <a:pathLst>
                  <a:path w="171" h="118" extrusionOk="0">
                    <a:moveTo>
                      <a:pt x="156" y="74"/>
                    </a:moveTo>
                    <a:cubicBezTo>
                      <a:pt x="167" y="80"/>
                      <a:pt x="171" y="95"/>
                      <a:pt x="165" y="106"/>
                    </a:cubicBezTo>
                    <a:cubicBezTo>
                      <a:pt x="160" y="114"/>
                      <a:pt x="152" y="118"/>
                      <a:pt x="144" y="118"/>
                    </a:cubicBezTo>
                    <a:cubicBezTo>
                      <a:pt x="140" y="118"/>
                      <a:pt x="136" y="117"/>
                      <a:pt x="132" y="115"/>
                    </a:cubicBezTo>
                    <a:cubicBezTo>
                      <a:pt x="15" y="48"/>
                      <a:pt x="15" y="48"/>
                      <a:pt x="15" y="48"/>
                    </a:cubicBezTo>
                    <a:cubicBezTo>
                      <a:pt x="4" y="41"/>
                      <a:pt x="0" y="27"/>
                      <a:pt x="7" y="15"/>
                    </a:cubicBezTo>
                    <a:cubicBezTo>
                      <a:pt x="13" y="4"/>
                      <a:pt x="28" y="0"/>
                      <a:pt x="39" y="6"/>
                    </a:cubicBezTo>
                    <a:lnTo>
                      <a:pt x="156" y="74"/>
                    </a:lnTo>
                    <a:close/>
                    <a:moveTo>
                      <a:pt x="156" y="74"/>
                    </a:moveTo>
                    <a:cubicBezTo>
                      <a:pt x="156" y="74"/>
                      <a:pt x="156" y="74"/>
                      <a:pt x="156" y="74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26"/>
              <p:cNvSpPr/>
              <p:nvPr/>
            </p:nvSpPr>
            <p:spPr>
              <a:xfrm>
                <a:off x="-249237" y="3695700"/>
                <a:ext cx="368300" cy="255587"/>
              </a:xfrm>
              <a:custGeom>
                <a:avLst/>
                <a:gdLst/>
                <a:ahLst/>
                <a:cxnLst/>
                <a:rect l="l" t="t" r="r" b="b"/>
                <a:pathLst>
                  <a:path w="171" h="119" extrusionOk="0">
                    <a:moveTo>
                      <a:pt x="165" y="15"/>
                    </a:moveTo>
                    <a:cubicBezTo>
                      <a:pt x="171" y="27"/>
                      <a:pt x="167" y="42"/>
                      <a:pt x="156" y="48"/>
                    </a:cubicBezTo>
                    <a:cubicBezTo>
                      <a:pt x="39" y="115"/>
                      <a:pt x="39" y="115"/>
                      <a:pt x="39" y="115"/>
                    </a:cubicBezTo>
                    <a:cubicBezTo>
                      <a:pt x="36" y="118"/>
                      <a:pt x="32" y="119"/>
                      <a:pt x="27" y="119"/>
                    </a:cubicBezTo>
                    <a:cubicBezTo>
                      <a:pt x="19" y="119"/>
                      <a:pt x="11" y="114"/>
                      <a:pt x="7" y="107"/>
                    </a:cubicBezTo>
                    <a:cubicBezTo>
                      <a:pt x="0" y="95"/>
                      <a:pt x="4" y="80"/>
                      <a:pt x="15" y="74"/>
                    </a:cubicBezTo>
                    <a:cubicBezTo>
                      <a:pt x="132" y="7"/>
                      <a:pt x="132" y="7"/>
                      <a:pt x="132" y="7"/>
                    </a:cubicBezTo>
                    <a:cubicBezTo>
                      <a:pt x="143" y="0"/>
                      <a:pt x="158" y="4"/>
                      <a:pt x="165" y="15"/>
                    </a:cubicBezTo>
                    <a:close/>
                    <a:moveTo>
                      <a:pt x="165" y="15"/>
                    </a:moveTo>
                    <a:cubicBezTo>
                      <a:pt x="165" y="15"/>
                      <a:pt x="165" y="15"/>
                      <a:pt x="165" y="15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" name="Google Shape;327;p26"/>
              <p:cNvSpPr/>
              <p:nvPr/>
            </p:nvSpPr>
            <p:spPr>
              <a:xfrm>
                <a:off x="-407988" y="3224213"/>
                <a:ext cx="392113" cy="103187"/>
              </a:xfrm>
              <a:custGeom>
                <a:avLst/>
                <a:gdLst/>
                <a:ahLst/>
                <a:cxnLst/>
                <a:rect l="l" t="t" r="r" b="b"/>
                <a:pathLst>
                  <a:path w="182" h="48" extrusionOk="0">
                    <a:moveTo>
                      <a:pt x="158" y="0"/>
                    </a:moveTo>
                    <a:cubicBezTo>
                      <a:pt x="172" y="0"/>
                      <a:pt x="182" y="11"/>
                      <a:pt x="182" y="24"/>
                    </a:cubicBezTo>
                    <a:cubicBezTo>
                      <a:pt x="182" y="38"/>
                      <a:pt x="172" y="48"/>
                      <a:pt x="15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1" y="48"/>
                      <a:pt x="0" y="38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lnTo>
                      <a:pt x="158" y="0"/>
                    </a:lnTo>
                    <a:close/>
                    <a:moveTo>
                      <a:pt x="158" y="0"/>
                    </a:moveTo>
                    <a:cubicBezTo>
                      <a:pt x="158" y="0"/>
                      <a:pt x="158" y="0"/>
                      <a:pt x="158" y="0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28" name="Google Shape;328;p26"/>
            <p:cNvGrpSpPr/>
            <p:nvPr/>
          </p:nvGrpSpPr>
          <p:grpSpPr>
            <a:xfrm>
              <a:off x="7550752" y="4986066"/>
              <a:ext cx="292447" cy="453183"/>
              <a:chOff x="198438" y="2200275"/>
              <a:chExt cx="1966912" cy="3048000"/>
            </a:xfrm>
          </p:grpSpPr>
          <p:sp>
            <p:nvSpPr>
              <p:cNvPr id="329" name="Google Shape;329;p26"/>
              <p:cNvSpPr/>
              <p:nvPr/>
            </p:nvSpPr>
            <p:spPr>
              <a:xfrm>
                <a:off x="1715677" y="2924371"/>
                <a:ext cx="134173" cy="1669662"/>
              </a:xfrm>
              <a:prstGeom prst="rect">
                <a:avLst/>
              </a:prstGeom>
              <a:solidFill>
                <a:srgbClr val="7B7B7B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0" name="Google Shape;330;p26"/>
              <p:cNvSpPr/>
              <p:nvPr/>
            </p:nvSpPr>
            <p:spPr>
              <a:xfrm>
                <a:off x="1314043" y="3309151"/>
                <a:ext cx="134173" cy="1254104"/>
              </a:xfrm>
              <a:prstGeom prst="rect">
                <a:avLst/>
              </a:prstGeom>
              <a:solidFill>
                <a:srgbClr val="7B7B7B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26"/>
              <p:cNvSpPr/>
              <p:nvPr/>
            </p:nvSpPr>
            <p:spPr>
              <a:xfrm>
                <a:off x="915580" y="3692212"/>
                <a:ext cx="134173" cy="840418"/>
              </a:xfrm>
              <a:prstGeom prst="rect">
                <a:avLst/>
              </a:prstGeom>
              <a:solidFill>
                <a:srgbClr val="7B7B7B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" name="Google Shape;332;p26"/>
              <p:cNvSpPr/>
              <p:nvPr/>
            </p:nvSpPr>
            <p:spPr>
              <a:xfrm>
                <a:off x="513940" y="4078717"/>
                <a:ext cx="134173" cy="423004"/>
              </a:xfrm>
              <a:prstGeom prst="rect">
                <a:avLst/>
              </a:prstGeom>
              <a:solidFill>
                <a:srgbClr val="7B7B7B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3" name="Google Shape;333;p26"/>
              <p:cNvSpPr/>
              <p:nvPr/>
            </p:nvSpPr>
            <p:spPr>
              <a:xfrm>
                <a:off x="254000" y="2239963"/>
                <a:ext cx="1851025" cy="473075"/>
              </a:xfrm>
              <a:custGeom>
                <a:avLst/>
                <a:gdLst/>
                <a:ahLst/>
                <a:cxnLst/>
                <a:rect l="l" t="t" r="r" b="b"/>
                <a:pathLst>
                  <a:path w="858" h="220" extrusionOk="0">
                    <a:moveTo>
                      <a:pt x="0" y="22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16" y="8"/>
                      <a:pt x="104" y="0"/>
                    </a:cubicBezTo>
                    <a:cubicBezTo>
                      <a:pt x="760" y="0"/>
                      <a:pt x="760" y="0"/>
                      <a:pt x="760" y="0"/>
                    </a:cubicBezTo>
                    <a:cubicBezTo>
                      <a:pt x="760" y="0"/>
                      <a:pt x="852" y="12"/>
                      <a:pt x="858" y="91"/>
                    </a:cubicBezTo>
                    <a:cubicBezTo>
                      <a:pt x="858" y="220"/>
                      <a:pt x="858" y="220"/>
                      <a:pt x="858" y="220"/>
                    </a:cubicBezTo>
                    <a:lnTo>
                      <a:pt x="0" y="220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" name="Google Shape;334;p26"/>
              <p:cNvSpPr/>
              <p:nvPr/>
            </p:nvSpPr>
            <p:spPr>
              <a:xfrm>
                <a:off x="247650" y="4733925"/>
                <a:ext cx="1851025" cy="477837"/>
              </a:xfrm>
              <a:custGeom>
                <a:avLst/>
                <a:gdLst/>
                <a:ahLst/>
                <a:cxnLst/>
                <a:rect l="l" t="t" r="r" b="b"/>
                <a:pathLst>
                  <a:path w="858" h="222" extrusionOk="0">
                    <a:moveTo>
                      <a:pt x="0" y="0"/>
                    </a:moveTo>
                    <a:cubicBezTo>
                      <a:pt x="858" y="0"/>
                      <a:pt x="858" y="0"/>
                      <a:pt x="858" y="0"/>
                    </a:cubicBezTo>
                    <a:cubicBezTo>
                      <a:pt x="858" y="152"/>
                      <a:pt x="858" y="152"/>
                      <a:pt x="858" y="152"/>
                    </a:cubicBezTo>
                    <a:cubicBezTo>
                      <a:pt x="858" y="152"/>
                      <a:pt x="841" y="217"/>
                      <a:pt x="781" y="222"/>
                    </a:cubicBezTo>
                    <a:cubicBezTo>
                      <a:pt x="102" y="222"/>
                      <a:pt x="102" y="222"/>
                      <a:pt x="102" y="222"/>
                    </a:cubicBezTo>
                    <a:cubicBezTo>
                      <a:pt x="102" y="222"/>
                      <a:pt x="14" y="208"/>
                      <a:pt x="0" y="13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8D8D8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" name="Google Shape;335;p26"/>
              <p:cNvSpPr/>
              <p:nvPr/>
            </p:nvSpPr>
            <p:spPr>
              <a:xfrm>
                <a:off x="198438" y="2200275"/>
                <a:ext cx="1966912" cy="3048000"/>
              </a:xfrm>
              <a:custGeom>
                <a:avLst/>
                <a:gdLst/>
                <a:ahLst/>
                <a:cxnLst/>
                <a:rect l="l" t="t" r="r" b="b"/>
                <a:pathLst>
                  <a:path w="912" h="1418" extrusionOk="0">
                    <a:moveTo>
                      <a:pt x="912" y="120"/>
                    </a:moveTo>
                    <a:cubicBezTo>
                      <a:pt x="912" y="1298"/>
                      <a:pt x="912" y="1298"/>
                      <a:pt x="912" y="1298"/>
                    </a:cubicBezTo>
                    <a:cubicBezTo>
                      <a:pt x="912" y="1364"/>
                      <a:pt x="858" y="1418"/>
                      <a:pt x="792" y="1418"/>
                    </a:cubicBezTo>
                    <a:cubicBezTo>
                      <a:pt x="120" y="1418"/>
                      <a:pt x="120" y="1418"/>
                      <a:pt x="120" y="1418"/>
                    </a:cubicBezTo>
                    <a:cubicBezTo>
                      <a:pt x="54" y="1418"/>
                      <a:pt x="0" y="1364"/>
                      <a:pt x="0" y="129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4"/>
                      <a:pt x="54" y="0"/>
                      <a:pt x="120" y="0"/>
                    </a:cubicBezTo>
                    <a:cubicBezTo>
                      <a:pt x="792" y="0"/>
                      <a:pt x="792" y="0"/>
                      <a:pt x="792" y="0"/>
                    </a:cubicBezTo>
                    <a:cubicBezTo>
                      <a:pt x="858" y="0"/>
                      <a:pt x="912" y="54"/>
                      <a:pt x="912" y="120"/>
                    </a:cubicBezTo>
                    <a:close/>
                    <a:moveTo>
                      <a:pt x="864" y="1298"/>
                    </a:moveTo>
                    <a:cubicBezTo>
                      <a:pt x="864" y="1200"/>
                      <a:pt x="864" y="1200"/>
                      <a:pt x="864" y="1200"/>
                    </a:cubicBezTo>
                    <a:cubicBezTo>
                      <a:pt x="48" y="1200"/>
                      <a:pt x="48" y="1200"/>
                      <a:pt x="48" y="1200"/>
                    </a:cubicBezTo>
                    <a:cubicBezTo>
                      <a:pt x="48" y="1298"/>
                      <a:pt x="48" y="1298"/>
                      <a:pt x="48" y="1298"/>
                    </a:cubicBezTo>
                    <a:cubicBezTo>
                      <a:pt x="48" y="1338"/>
                      <a:pt x="80" y="1370"/>
                      <a:pt x="120" y="1370"/>
                    </a:cubicBezTo>
                    <a:cubicBezTo>
                      <a:pt x="792" y="1370"/>
                      <a:pt x="792" y="1370"/>
                      <a:pt x="792" y="1370"/>
                    </a:cubicBezTo>
                    <a:cubicBezTo>
                      <a:pt x="832" y="1370"/>
                      <a:pt x="864" y="1338"/>
                      <a:pt x="864" y="1298"/>
                    </a:cubicBezTo>
                    <a:close/>
                    <a:moveTo>
                      <a:pt x="864" y="1152"/>
                    </a:moveTo>
                    <a:cubicBezTo>
                      <a:pt x="864" y="266"/>
                      <a:pt x="864" y="266"/>
                      <a:pt x="864" y="266"/>
                    </a:cubicBezTo>
                    <a:cubicBezTo>
                      <a:pt x="48" y="266"/>
                      <a:pt x="48" y="266"/>
                      <a:pt x="48" y="266"/>
                    </a:cubicBezTo>
                    <a:cubicBezTo>
                      <a:pt x="48" y="1152"/>
                      <a:pt x="48" y="1152"/>
                      <a:pt x="48" y="1152"/>
                    </a:cubicBezTo>
                    <a:lnTo>
                      <a:pt x="864" y="1152"/>
                    </a:lnTo>
                    <a:close/>
                    <a:moveTo>
                      <a:pt x="864" y="218"/>
                    </a:moveTo>
                    <a:cubicBezTo>
                      <a:pt x="864" y="120"/>
                      <a:pt x="864" y="120"/>
                      <a:pt x="864" y="120"/>
                    </a:cubicBezTo>
                    <a:cubicBezTo>
                      <a:pt x="864" y="80"/>
                      <a:pt x="832" y="48"/>
                      <a:pt x="792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80" y="48"/>
                      <a:pt x="48" y="80"/>
                      <a:pt x="48" y="120"/>
                    </a:cubicBezTo>
                    <a:cubicBezTo>
                      <a:pt x="48" y="218"/>
                      <a:pt x="48" y="218"/>
                      <a:pt x="48" y="218"/>
                    </a:cubicBezTo>
                    <a:lnTo>
                      <a:pt x="864" y="218"/>
                    </a:lnTo>
                    <a:close/>
                    <a:moveTo>
                      <a:pt x="864" y="218"/>
                    </a:moveTo>
                    <a:cubicBezTo>
                      <a:pt x="864" y="218"/>
                      <a:pt x="864" y="218"/>
                      <a:pt x="864" y="218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" name="Google Shape;336;p26"/>
              <p:cNvSpPr/>
              <p:nvPr/>
            </p:nvSpPr>
            <p:spPr>
              <a:xfrm>
                <a:off x="1622425" y="2944813"/>
                <a:ext cx="320675" cy="1628775"/>
              </a:xfrm>
              <a:custGeom>
                <a:avLst/>
                <a:gdLst/>
                <a:ahLst/>
                <a:cxnLst/>
                <a:rect l="l" t="t" r="r" b="b"/>
                <a:pathLst>
                  <a:path w="149" h="758" extrusionOk="0">
                    <a:moveTo>
                      <a:pt x="149" y="24"/>
                    </a:moveTo>
                    <a:cubicBezTo>
                      <a:pt x="149" y="734"/>
                      <a:pt x="149" y="734"/>
                      <a:pt x="149" y="734"/>
                    </a:cubicBezTo>
                    <a:cubicBezTo>
                      <a:pt x="149" y="747"/>
                      <a:pt x="138" y="758"/>
                      <a:pt x="125" y="758"/>
                    </a:cubicBezTo>
                    <a:cubicBezTo>
                      <a:pt x="24" y="758"/>
                      <a:pt x="24" y="758"/>
                      <a:pt x="24" y="758"/>
                    </a:cubicBezTo>
                    <a:cubicBezTo>
                      <a:pt x="11" y="758"/>
                      <a:pt x="0" y="747"/>
                      <a:pt x="0" y="73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710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710"/>
                      <a:pt x="48" y="710"/>
                      <a:pt x="48" y="710"/>
                    </a:cubicBezTo>
                    <a:lnTo>
                      <a:pt x="101" y="710"/>
                    </a:lnTo>
                    <a:close/>
                    <a:moveTo>
                      <a:pt x="101" y="710"/>
                    </a:moveTo>
                    <a:cubicBezTo>
                      <a:pt x="101" y="710"/>
                      <a:pt x="101" y="710"/>
                      <a:pt x="101" y="71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26"/>
              <p:cNvSpPr/>
              <p:nvPr/>
            </p:nvSpPr>
            <p:spPr>
              <a:xfrm>
                <a:off x="1220788" y="3298825"/>
                <a:ext cx="320675" cy="1274762"/>
              </a:xfrm>
              <a:custGeom>
                <a:avLst/>
                <a:gdLst/>
                <a:ahLst/>
                <a:cxnLst/>
                <a:rect l="l" t="t" r="r" b="b"/>
                <a:pathLst>
                  <a:path w="149" h="593" extrusionOk="0">
                    <a:moveTo>
                      <a:pt x="149" y="24"/>
                    </a:moveTo>
                    <a:cubicBezTo>
                      <a:pt x="149" y="569"/>
                      <a:pt x="149" y="569"/>
                      <a:pt x="149" y="569"/>
                    </a:cubicBezTo>
                    <a:cubicBezTo>
                      <a:pt x="149" y="582"/>
                      <a:pt x="138" y="593"/>
                      <a:pt x="125" y="593"/>
                    </a:cubicBezTo>
                    <a:cubicBezTo>
                      <a:pt x="24" y="593"/>
                      <a:pt x="24" y="593"/>
                      <a:pt x="24" y="593"/>
                    </a:cubicBezTo>
                    <a:cubicBezTo>
                      <a:pt x="11" y="593"/>
                      <a:pt x="0" y="582"/>
                      <a:pt x="0" y="56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0"/>
                      <a:pt x="149" y="24"/>
                    </a:cubicBezTo>
                    <a:close/>
                    <a:moveTo>
                      <a:pt x="101" y="545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545"/>
                      <a:pt x="48" y="545"/>
                      <a:pt x="48" y="545"/>
                    </a:cubicBezTo>
                    <a:lnTo>
                      <a:pt x="101" y="545"/>
                    </a:lnTo>
                    <a:close/>
                    <a:moveTo>
                      <a:pt x="101" y="545"/>
                    </a:moveTo>
                    <a:cubicBezTo>
                      <a:pt x="101" y="545"/>
                      <a:pt x="101" y="545"/>
                      <a:pt x="101" y="545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" name="Google Shape;338;p26"/>
              <p:cNvSpPr/>
              <p:nvPr/>
            </p:nvSpPr>
            <p:spPr>
              <a:xfrm>
                <a:off x="909638" y="2435225"/>
                <a:ext cx="544512" cy="103187"/>
              </a:xfrm>
              <a:custGeom>
                <a:avLst/>
                <a:gdLst/>
                <a:ahLst/>
                <a:cxnLst/>
                <a:rect l="l" t="t" r="r" b="b"/>
                <a:pathLst>
                  <a:path w="252" h="48" extrusionOk="0">
                    <a:moveTo>
                      <a:pt x="228" y="0"/>
                    </a:moveTo>
                    <a:cubicBezTo>
                      <a:pt x="242" y="0"/>
                      <a:pt x="252" y="11"/>
                      <a:pt x="252" y="24"/>
                    </a:cubicBezTo>
                    <a:cubicBezTo>
                      <a:pt x="252" y="37"/>
                      <a:pt x="242" y="48"/>
                      <a:pt x="22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lnTo>
                      <a:pt x="228" y="0"/>
                    </a:lnTo>
                    <a:close/>
                    <a:moveTo>
                      <a:pt x="228" y="0"/>
                    </a:moveTo>
                    <a:cubicBezTo>
                      <a:pt x="228" y="0"/>
                      <a:pt x="228" y="0"/>
                      <a:pt x="228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26"/>
              <p:cNvSpPr/>
              <p:nvPr/>
            </p:nvSpPr>
            <p:spPr>
              <a:xfrm>
                <a:off x="822325" y="3651250"/>
                <a:ext cx="320675" cy="922337"/>
              </a:xfrm>
              <a:custGeom>
                <a:avLst/>
                <a:gdLst/>
                <a:ahLst/>
                <a:cxnLst/>
                <a:rect l="l" t="t" r="r" b="b"/>
                <a:pathLst>
                  <a:path w="149" h="429" extrusionOk="0">
                    <a:moveTo>
                      <a:pt x="149" y="24"/>
                    </a:moveTo>
                    <a:cubicBezTo>
                      <a:pt x="149" y="405"/>
                      <a:pt x="149" y="405"/>
                      <a:pt x="149" y="405"/>
                    </a:cubicBezTo>
                    <a:cubicBezTo>
                      <a:pt x="149" y="418"/>
                      <a:pt x="138" y="429"/>
                      <a:pt x="125" y="429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11" y="429"/>
                      <a:pt x="0" y="418"/>
                      <a:pt x="0" y="40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381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381"/>
                      <a:pt x="48" y="381"/>
                      <a:pt x="48" y="381"/>
                    </a:cubicBezTo>
                    <a:lnTo>
                      <a:pt x="101" y="381"/>
                    </a:lnTo>
                    <a:close/>
                    <a:moveTo>
                      <a:pt x="101" y="381"/>
                    </a:moveTo>
                    <a:cubicBezTo>
                      <a:pt x="101" y="381"/>
                      <a:pt x="101" y="381"/>
                      <a:pt x="101" y="381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0" name="Google Shape;340;p26"/>
              <p:cNvSpPr/>
              <p:nvPr/>
            </p:nvSpPr>
            <p:spPr>
              <a:xfrm>
                <a:off x="420688" y="4006850"/>
                <a:ext cx="320675" cy="566737"/>
              </a:xfrm>
              <a:custGeom>
                <a:avLst/>
                <a:gdLst/>
                <a:ahLst/>
                <a:cxnLst/>
                <a:rect l="l" t="t" r="r" b="b"/>
                <a:pathLst>
                  <a:path w="149" h="264" extrusionOk="0">
                    <a:moveTo>
                      <a:pt x="149" y="24"/>
                    </a:moveTo>
                    <a:cubicBezTo>
                      <a:pt x="149" y="240"/>
                      <a:pt x="149" y="240"/>
                      <a:pt x="149" y="240"/>
                    </a:cubicBezTo>
                    <a:cubicBezTo>
                      <a:pt x="149" y="253"/>
                      <a:pt x="138" y="264"/>
                      <a:pt x="125" y="264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11" y="264"/>
                      <a:pt x="0" y="253"/>
                      <a:pt x="0" y="24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01" y="216"/>
                    </a:moveTo>
                    <a:cubicBezTo>
                      <a:pt x="101" y="48"/>
                      <a:pt x="101" y="48"/>
                      <a:pt x="101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216"/>
                      <a:pt x="48" y="216"/>
                      <a:pt x="48" y="216"/>
                    </a:cubicBezTo>
                    <a:lnTo>
                      <a:pt x="101" y="216"/>
                    </a:lnTo>
                    <a:close/>
                    <a:moveTo>
                      <a:pt x="101" y="216"/>
                    </a:moveTo>
                    <a:cubicBezTo>
                      <a:pt x="101" y="216"/>
                      <a:pt x="101" y="216"/>
                      <a:pt x="101" y="216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41" name="Google Shape;341;p26"/>
            <p:cNvGrpSpPr/>
            <p:nvPr/>
          </p:nvGrpSpPr>
          <p:grpSpPr>
            <a:xfrm>
              <a:off x="8076396" y="3497362"/>
              <a:ext cx="381812" cy="490704"/>
              <a:chOff x="755651" y="2052638"/>
              <a:chExt cx="1781175" cy="2289175"/>
            </a:xfrm>
          </p:grpSpPr>
          <p:sp>
            <p:nvSpPr>
              <p:cNvPr id="342" name="Google Shape;342;p26"/>
              <p:cNvSpPr/>
              <p:nvPr/>
            </p:nvSpPr>
            <p:spPr>
              <a:xfrm>
                <a:off x="2224087" y="3476625"/>
                <a:ext cx="239715" cy="571501"/>
              </a:xfrm>
              <a:custGeom>
                <a:avLst/>
                <a:gdLst/>
                <a:ahLst/>
                <a:cxnLst/>
                <a:rect l="l" t="t" r="r" b="b"/>
                <a:pathLst>
                  <a:path w="146" h="349" extrusionOk="0">
                    <a:moveTo>
                      <a:pt x="3" y="0"/>
                    </a:moveTo>
                    <a:cubicBezTo>
                      <a:pt x="59" y="83"/>
                      <a:pt x="137" y="220"/>
                      <a:pt x="146" y="349"/>
                    </a:cubicBezTo>
                    <a:cubicBezTo>
                      <a:pt x="88" y="348"/>
                      <a:pt x="32" y="344"/>
                      <a:pt x="0" y="341"/>
                    </a:cubicBezTo>
                    <a:cubicBezTo>
                      <a:pt x="13" y="229"/>
                      <a:pt x="14" y="115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3" name="Google Shape;343;p26"/>
              <p:cNvSpPr/>
              <p:nvPr/>
            </p:nvSpPr>
            <p:spPr>
              <a:xfrm>
                <a:off x="1197862" y="4096313"/>
                <a:ext cx="895159" cy="204034"/>
              </a:xfrm>
              <a:custGeom>
                <a:avLst/>
                <a:gdLst/>
                <a:ahLst/>
                <a:cxnLst/>
                <a:rect l="l" t="t" r="r" b="b"/>
                <a:pathLst>
                  <a:path w="513" h="94" extrusionOk="0">
                    <a:moveTo>
                      <a:pt x="504" y="0"/>
                    </a:moveTo>
                    <a:cubicBezTo>
                      <a:pt x="513" y="77"/>
                      <a:pt x="513" y="77"/>
                      <a:pt x="513" y="77"/>
                    </a:cubicBezTo>
                    <a:cubicBezTo>
                      <a:pt x="343" y="94"/>
                      <a:pt x="170" y="94"/>
                      <a:pt x="0" y="77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1" y="11"/>
                      <a:pt x="174" y="16"/>
                      <a:pt x="257" y="16"/>
                    </a:cubicBezTo>
                    <a:cubicBezTo>
                      <a:pt x="339" y="16"/>
                      <a:pt x="422" y="11"/>
                      <a:pt x="504" y="0"/>
                    </a:cubicBezTo>
                    <a:close/>
                    <a:moveTo>
                      <a:pt x="504" y="0"/>
                    </a:moveTo>
                    <a:cubicBezTo>
                      <a:pt x="504" y="0"/>
                      <a:pt x="504" y="0"/>
                      <a:pt x="504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26"/>
              <p:cNvSpPr/>
              <p:nvPr/>
            </p:nvSpPr>
            <p:spPr>
              <a:xfrm>
                <a:off x="1390653" y="2143126"/>
                <a:ext cx="511176" cy="490536"/>
              </a:xfrm>
              <a:custGeom>
                <a:avLst/>
                <a:gdLst/>
                <a:ahLst/>
                <a:cxnLst/>
                <a:rect l="l" t="t" r="r" b="b"/>
                <a:pathLst>
                  <a:path w="312" h="300" extrusionOk="0">
                    <a:moveTo>
                      <a:pt x="156" y="0"/>
                    </a:moveTo>
                    <a:cubicBezTo>
                      <a:pt x="215" y="85"/>
                      <a:pt x="267" y="174"/>
                      <a:pt x="312" y="265"/>
                    </a:cubicBezTo>
                    <a:cubicBezTo>
                      <a:pt x="263" y="288"/>
                      <a:pt x="210" y="300"/>
                      <a:pt x="156" y="300"/>
                    </a:cubicBezTo>
                    <a:cubicBezTo>
                      <a:pt x="102" y="300"/>
                      <a:pt x="48" y="288"/>
                      <a:pt x="0" y="265"/>
                    </a:cubicBezTo>
                    <a:cubicBezTo>
                      <a:pt x="44" y="174"/>
                      <a:pt x="96" y="85"/>
                      <a:pt x="156" y="0"/>
                    </a:cubicBezTo>
                    <a:close/>
                    <a:moveTo>
                      <a:pt x="156" y="0"/>
                    </a:moveTo>
                    <a:cubicBezTo>
                      <a:pt x="156" y="0"/>
                      <a:pt x="156" y="0"/>
                      <a:pt x="156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" name="Google Shape;345;p26"/>
              <p:cNvSpPr/>
              <p:nvPr/>
            </p:nvSpPr>
            <p:spPr>
              <a:xfrm>
                <a:off x="823913" y="3465514"/>
                <a:ext cx="247652" cy="593723"/>
              </a:xfrm>
              <a:custGeom>
                <a:avLst/>
                <a:gdLst/>
                <a:ahLst/>
                <a:cxnLst/>
                <a:rect l="l" t="t" r="r" b="b"/>
                <a:pathLst>
                  <a:path w="151" h="363" extrusionOk="0">
                    <a:moveTo>
                      <a:pt x="149" y="0"/>
                    </a:moveTo>
                    <a:cubicBezTo>
                      <a:pt x="137" y="119"/>
                      <a:pt x="138" y="238"/>
                      <a:pt x="151" y="354"/>
                    </a:cubicBezTo>
                    <a:cubicBezTo>
                      <a:pt x="119" y="357"/>
                      <a:pt x="60" y="362"/>
                      <a:pt x="0" y="363"/>
                    </a:cubicBezTo>
                    <a:cubicBezTo>
                      <a:pt x="10" y="229"/>
                      <a:pt x="91" y="87"/>
                      <a:pt x="149" y="0"/>
                    </a:cubicBezTo>
                    <a:close/>
                    <a:moveTo>
                      <a:pt x="149" y="0"/>
                    </a:moveTo>
                    <a:cubicBezTo>
                      <a:pt x="149" y="0"/>
                      <a:pt x="149" y="0"/>
                      <a:pt x="149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" name="Google Shape;346;p26"/>
              <p:cNvSpPr/>
              <p:nvPr/>
            </p:nvSpPr>
            <p:spPr>
              <a:xfrm>
                <a:off x="755651" y="2052638"/>
                <a:ext cx="1781175" cy="2289175"/>
              </a:xfrm>
              <a:custGeom>
                <a:avLst/>
                <a:gdLst/>
                <a:ahLst/>
                <a:cxnLst/>
                <a:rect l="l" t="t" r="r" b="b"/>
                <a:pathLst>
                  <a:path w="1086" h="1400" extrusionOk="0">
                    <a:moveTo>
                      <a:pt x="1086" y="1238"/>
                    </a:moveTo>
                    <a:cubicBezTo>
                      <a:pt x="1086" y="1251"/>
                      <a:pt x="1075" y="1262"/>
                      <a:pt x="1062" y="1262"/>
                    </a:cubicBezTo>
                    <a:cubicBezTo>
                      <a:pt x="978" y="1262"/>
                      <a:pt x="892" y="1253"/>
                      <a:pt x="874" y="1251"/>
                    </a:cubicBezTo>
                    <a:cubicBezTo>
                      <a:pt x="856" y="1255"/>
                      <a:pt x="838" y="1258"/>
                      <a:pt x="820" y="1261"/>
                    </a:cubicBezTo>
                    <a:cubicBezTo>
                      <a:pt x="831" y="1359"/>
                      <a:pt x="831" y="1359"/>
                      <a:pt x="831" y="1359"/>
                    </a:cubicBezTo>
                    <a:cubicBezTo>
                      <a:pt x="832" y="1365"/>
                      <a:pt x="830" y="1371"/>
                      <a:pt x="826" y="1376"/>
                    </a:cubicBezTo>
                    <a:cubicBezTo>
                      <a:pt x="822" y="1381"/>
                      <a:pt x="816" y="1385"/>
                      <a:pt x="810" y="1385"/>
                    </a:cubicBezTo>
                    <a:cubicBezTo>
                      <a:pt x="721" y="1395"/>
                      <a:pt x="632" y="1400"/>
                      <a:pt x="542" y="1400"/>
                    </a:cubicBezTo>
                    <a:cubicBezTo>
                      <a:pt x="453" y="1400"/>
                      <a:pt x="364" y="1395"/>
                      <a:pt x="275" y="1385"/>
                    </a:cubicBezTo>
                    <a:cubicBezTo>
                      <a:pt x="269" y="1385"/>
                      <a:pt x="263" y="1381"/>
                      <a:pt x="259" y="1376"/>
                    </a:cubicBezTo>
                    <a:cubicBezTo>
                      <a:pt x="255" y="1371"/>
                      <a:pt x="253" y="1365"/>
                      <a:pt x="254" y="1359"/>
                    </a:cubicBezTo>
                    <a:cubicBezTo>
                      <a:pt x="265" y="1261"/>
                      <a:pt x="265" y="1261"/>
                      <a:pt x="265" y="1261"/>
                    </a:cubicBezTo>
                    <a:cubicBezTo>
                      <a:pt x="247" y="1258"/>
                      <a:pt x="229" y="1255"/>
                      <a:pt x="212" y="1251"/>
                    </a:cubicBezTo>
                    <a:cubicBezTo>
                      <a:pt x="193" y="1253"/>
                      <a:pt x="108" y="1262"/>
                      <a:pt x="24" y="1262"/>
                    </a:cubicBezTo>
                    <a:cubicBezTo>
                      <a:pt x="11" y="1262"/>
                      <a:pt x="0" y="1251"/>
                      <a:pt x="0" y="1238"/>
                    </a:cubicBezTo>
                    <a:cubicBezTo>
                      <a:pt x="0" y="1147"/>
                      <a:pt x="34" y="1043"/>
                      <a:pt x="101" y="927"/>
                    </a:cubicBezTo>
                    <a:cubicBezTo>
                      <a:pt x="142" y="856"/>
                      <a:pt x="183" y="803"/>
                      <a:pt x="196" y="787"/>
                    </a:cubicBezTo>
                    <a:cubicBezTo>
                      <a:pt x="206" y="729"/>
                      <a:pt x="218" y="672"/>
                      <a:pt x="233" y="614"/>
                    </a:cubicBezTo>
                    <a:cubicBezTo>
                      <a:pt x="291" y="401"/>
                      <a:pt x="388" y="197"/>
                      <a:pt x="523" y="10"/>
                    </a:cubicBezTo>
                    <a:cubicBezTo>
                      <a:pt x="528" y="4"/>
                      <a:pt x="535" y="0"/>
                      <a:pt x="543" y="0"/>
                    </a:cubicBezTo>
                    <a:cubicBezTo>
                      <a:pt x="551" y="0"/>
                      <a:pt x="558" y="4"/>
                      <a:pt x="562" y="10"/>
                    </a:cubicBezTo>
                    <a:cubicBezTo>
                      <a:pt x="697" y="197"/>
                      <a:pt x="795" y="401"/>
                      <a:pt x="852" y="614"/>
                    </a:cubicBezTo>
                    <a:cubicBezTo>
                      <a:pt x="868" y="672"/>
                      <a:pt x="880" y="729"/>
                      <a:pt x="889" y="787"/>
                    </a:cubicBezTo>
                    <a:cubicBezTo>
                      <a:pt x="902" y="803"/>
                      <a:pt x="943" y="856"/>
                      <a:pt x="985" y="927"/>
                    </a:cubicBezTo>
                    <a:cubicBezTo>
                      <a:pt x="1052" y="1043"/>
                      <a:pt x="1086" y="1147"/>
                      <a:pt x="1086" y="1238"/>
                    </a:cubicBezTo>
                    <a:close/>
                    <a:moveTo>
                      <a:pt x="1037" y="1213"/>
                    </a:moveTo>
                    <a:cubicBezTo>
                      <a:pt x="1028" y="1092"/>
                      <a:pt x="954" y="964"/>
                      <a:pt x="902" y="886"/>
                    </a:cubicBezTo>
                    <a:cubicBezTo>
                      <a:pt x="912" y="993"/>
                      <a:pt x="912" y="1100"/>
                      <a:pt x="900" y="1206"/>
                    </a:cubicBezTo>
                    <a:cubicBezTo>
                      <a:pt x="929" y="1208"/>
                      <a:pt x="982" y="1212"/>
                      <a:pt x="1037" y="1213"/>
                    </a:cubicBezTo>
                    <a:close/>
                    <a:moveTo>
                      <a:pt x="851" y="1207"/>
                    </a:moveTo>
                    <a:cubicBezTo>
                      <a:pt x="874" y="1018"/>
                      <a:pt x="858" y="822"/>
                      <a:pt x="806" y="627"/>
                    </a:cubicBezTo>
                    <a:cubicBezTo>
                      <a:pt x="781" y="534"/>
                      <a:pt x="749" y="443"/>
                      <a:pt x="708" y="355"/>
                    </a:cubicBezTo>
                    <a:cubicBezTo>
                      <a:pt x="657" y="380"/>
                      <a:pt x="600" y="392"/>
                      <a:pt x="543" y="392"/>
                    </a:cubicBezTo>
                    <a:cubicBezTo>
                      <a:pt x="486" y="392"/>
                      <a:pt x="429" y="380"/>
                      <a:pt x="377" y="355"/>
                    </a:cubicBezTo>
                    <a:cubicBezTo>
                      <a:pt x="337" y="444"/>
                      <a:pt x="305" y="534"/>
                      <a:pt x="280" y="627"/>
                    </a:cubicBezTo>
                    <a:cubicBezTo>
                      <a:pt x="227" y="822"/>
                      <a:pt x="212" y="1018"/>
                      <a:pt x="235" y="1207"/>
                    </a:cubicBezTo>
                    <a:cubicBezTo>
                      <a:pt x="439" y="1245"/>
                      <a:pt x="646" y="1245"/>
                      <a:pt x="851" y="1207"/>
                    </a:cubicBezTo>
                    <a:close/>
                    <a:moveTo>
                      <a:pt x="781" y="1340"/>
                    </a:moveTo>
                    <a:cubicBezTo>
                      <a:pt x="773" y="1268"/>
                      <a:pt x="773" y="1268"/>
                      <a:pt x="773" y="1268"/>
                    </a:cubicBezTo>
                    <a:cubicBezTo>
                      <a:pt x="696" y="1278"/>
                      <a:pt x="620" y="1283"/>
                      <a:pt x="543" y="1283"/>
                    </a:cubicBezTo>
                    <a:cubicBezTo>
                      <a:pt x="466" y="1283"/>
                      <a:pt x="389" y="1278"/>
                      <a:pt x="312" y="1268"/>
                    </a:cubicBezTo>
                    <a:cubicBezTo>
                      <a:pt x="304" y="1340"/>
                      <a:pt x="304" y="1340"/>
                      <a:pt x="304" y="1340"/>
                    </a:cubicBezTo>
                    <a:cubicBezTo>
                      <a:pt x="462" y="1356"/>
                      <a:pt x="622" y="1356"/>
                      <a:pt x="781" y="1340"/>
                    </a:cubicBezTo>
                    <a:close/>
                    <a:moveTo>
                      <a:pt x="688" y="312"/>
                    </a:moveTo>
                    <a:cubicBezTo>
                      <a:pt x="647" y="227"/>
                      <a:pt x="598" y="145"/>
                      <a:pt x="543" y="65"/>
                    </a:cubicBezTo>
                    <a:cubicBezTo>
                      <a:pt x="488" y="145"/>
                      <a:pt x="439" y="227"/>
                      <a:pt x="398" y="312"/>
                    </a:cubicBezTo>
                    <a:cubicBezTo>
                      <a:pt x="443" y="333"/>
                      <a:pt x="493" y="344"/>
                      <a:pt x="543" y="344"/>
                    </a:cubicBezTo>
                    <a:cubicBezTo>
                      <a:pt x="593" y="344"/>
                      <a:pt x="643" y="333"/>
                      <a:pt x="688" y="312"/>
                    </a:cubicBezTo>
                    <a:close/>
                    <a:moveTo>
                      <a:pt x="186" y="1206"/>
                    </a:moveTo>
                    <a:cubicBezTo>
                      <a:pt x="174" y="1100"/>
                      <a:pt x="173" y="993"/>
                      <a:pt x="184" y="886"/>
                    </a:cubicBezTo>
                    <a:cubicBezTo>
                      <a:pt x="131" y="964"/>
                      <a:pt x="58" y="1093"/>
                      <a:pt x="49" y="1213"/>
                    </a:cubicBezTo>
                    <a:cubicBezTo>
                      <a:pt x="104" y="1212"/>
                      <a:pt x="157" y="1208"/>
                      <a:pt x="186" y="1206"/>
                    </a:cubicBezTo>
                    <a:close/>
                    <a:moveTo>
                      <a:pt x="186" y="1206"/>
                    </a:moveTo>
                    <a:cubicBezTo>
                      <a:pt x="186" y="1206"/>
                      <a:pt x="186" y="1206"/>
                      <a:pt x="186" y="1206"/>
                    </a:cubicBezTo>
                  </a:path>
                </a:pathLst>
              </a:custGeom>
              <a:solidFill>
                <a:srgbClr val="3F3F3F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endParaRPr sz="1800">
                  <a:solidFill>
                    <a:schemeClr val="dk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9" name="Google Shape;349;p26"/>
          <p:cNvSpPr txBox="1"/>
          <p:nvPr/>
        </p:nvSpPr>
        <p:spPr>
          <a:xfrm>
            <a:off x="6595324" y="1025830"/>
            <a:ext cx="2364259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r>
              <a:rPr lang="en-US" sz="1500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Open Sans"/>
                <a:sym typeface="Open Sans"/>
              </a:rPr>
              <a:t>Approved Business Case</a:t>
            </a:r>
            <a:endParaRPr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2" name="Google Shape;352;p26"/>
          <p:cNvSpPr txBox="1"/>
          <p:nvPr/>
        </p:nvSpPr>
        <p:spPr>
          <a:xfrm>
            <a:off x="6595324" y="3894481"/>
            <a:ext cx="2279735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r>
              <a:rPr lang="en-US" sz="1500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Open Sans"/>
                <a:sym typeface="Open Sans"/>
              </a:rPr>
              <a:t>Approved Final Business Case</a:t>
            </a:r>
            <a:endParaRPr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5" name="Google Shape;355;p26"/>
          <p:cNvSpPr txBox="1"/>
          <p:nvPr/>
        </p:nvSpPr>
        <p:spPr>
          <a:xfrm>
            <a:off x="7023220" y="2400971"/>
            <a:ext cx="2037652" cy="273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r>
              <a:rPr lang="en-US" sz="1500" b="1" dirty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Open Sans"/>
                <a:sym typeface="Open Sans"/>
              </a:rPr>
              <a:t>Final Process Definition Document</a:t>
            </a:r>
            <a:endParaRPr lang="en-US"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8" name="Google Shape;358;p26"/>
          <p:cNvSpPr txBox="1"/>
          <p:nvPr/>
        </p:nvSpPr>
        <p:spPr>
          <a:xfrm>
            <a:off x="430306" y="2400971"/>
            <a:ext cx="1991023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pPr algn="r"/>
            <a:r>
              <a:rPr lang="en-US" sz="1500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Open Sans"/>
                <a:sym typeface="Open Sans"/>
              </a:rPr>
              <a:t>Calculated Process Complexity</a:t>
            </a:r>
            <a:endParaRPr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1" name="Google Shape;361;p26"/>
          <p:cNvSpPr txBox="1"/>
          <p:nvPr/>
        </p:nvSpPr>
        <p:spPr>
          <a:xfrm>
            <a:off x="276625" y="1025830"/>
            <a:ext cx="2471838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pPr algn="r"/>
            <a:r>
              <a:rPr lang="en-US" sz="1500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Open Sans"/>
                <a:sym typeface="Open Sans"/>
              </a:rPr>
              <a:t>Completed Initial Process Assessment (IPA) Questionnaire</a:t>
            </a:r>
            <a:endParaRPr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4" name="Google Shape;364;p26"/>
          <p:cNvSpPr txBox="1"/>
          <p:nvPr/>
        </p:nvSpPr>
        <p:spPr>
          <a:xfrm>
            <a:off x="573665" y="3894481"/>
            <a:ext cx="1975013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pPr algn="r"/>
            <a:r>
              <a:rPr lang="en-US" sz="1500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Open Sans"/>
                <a:sym typeface="Open Sans"/>
              </a:rPr>
              <a:t>Calculated ROI</a:t>
            </a:r>
            <a:endParaRPr sz="10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328924" y="4748701"/>
            <a:ext cx="449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H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ment Pipeline Prioritization</a:t>
            </a:r>
            <a:endParaRPr lang="en-PH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9" name="Google Shape;59;p14"/>
          <p:cNvSpPr txBox="1">
            <a:spLocks/>
          </p:cNvSpPr>
          <p:nvPr/>
        </p:nvSpPr>
        <p:spPr>
          <a:xfrm>
            <a:off x="39560" y="19922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500" b="1" dirty="0" smtClean="0">
                <a:solidFill>
                  <a:schemeClr val="bg1"/>
                </a:solidFill>
              </a:rPr>
              <a:t>REQUIREMENTS</a:t>
            </a:r>
            <a:endParaRPr lang="en-US" sz="1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85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" name="Google Shape;176;p27"/>
          <p:cNvGrpSpPr/>
          <p:nvPr/>
        </p:nvGrpSpPr>
        <p:grpSpPr>
          <a:xfrm>
            <a:off x="1782688" y="2980489"/>
            <a:ext cx="2568364" cy="1076681"/>
            <a:chOff x="1435374" y="1801572"/>
            <a:chExt cx="3096632" cy="1292662"/>
          </a:xfrm>
        </p:grpSpPr>
        <p:sp>
          <p:nvSpPr>
            <p:cNvPr id="177" name="Google Shape;177;p27"/>
            <p:cNvSpPr/>
            <p:nvPr/>
          </p:nvSpPr>
          <p:spPr>
            <a:xfrm>
              <a:off x="1867748" y="2170904"/>
              <a:ext cx="2664257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Calibri"/>
                </a:rPr>
                <a:t>Process score which is computed from the agreed criteria during planning.</a:t>
              </a:r>
              <a:endParaRPr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Google Shape;178;p27"/>
            <p:cNvSpPr/>
            <p:nvPr/>
          </p:nvSpPr>
          <p:spPr>
            <a:xfrm>
              <a:off x="1435374" y="1801572"/>
              <a:ext cx="3096632" cy="4364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r"/>
              <a:r>
                <a:rPr lang="en-US" sz="135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IORITIZATION CRITERIA</a:t>
              </a:r>
              <a:endParaRPr sz="13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8" name="Google Shape;188;p27"/>
          <p:cNvSpPr/>
          <p:nvPr/>
        </p:nvSpPr>
        <p:spPr>
          <a:xfrm>
            <a:off x="6890351" y="3288112"/>
            <a:ext cx="1123928" cy="553643"/>
          </a:xfrm>
          <a:prstGeom prst="homePlate">
            <a:avLst>
              <a:gd name="adj" fmla="val 44193"/>
            </a:avLst>
          </a:prstGeom>
          <a:gradFill>
            <a:gsLst>
              <a:gs pos="0">
                <a:srgbClr val="99DFFB"/>
              </a:gs>
              <a:gs pos="46000">
                <a:srgbClr val="0FB3F6"/>
              </a:gs>
              <a:gs pos="100000">
                <a:srgbClr val="05689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27"/>
          <p:cNvSpPr/>
          <p:nvPr/>
        </p:nvSpPr>
        <p:spPr>
          <a:xfrm rot="14344310">
            <a:off x="5535921" y="3019756"/>
            <a:ext cx="1124712" cy="112221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88900" sx="104999" sy="104999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" name="Google Shape;192;p27"/>
          <p:cNvSpPr/>
          <p:nvPr/>
        </p:nvSpPr>
        <p:spPr>
          <a:xfrm rot="14344310">
            <a:off x="5652896" y="3138523"/>
            <a:ext cx="881743" cy="884682"/>
          </a:xfrm>
          <a:prstGeom prst="ellipse">
            <a:avLst/>
          </a:prstGeom>
          <a:solidFill>
            <a:srgbClr val="68CFF9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258" y="3141356"/>
            <a:ext cx="879018" cy="87901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7720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8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19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7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19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8" grpId="0" animBg="1"/>
      <p:bldP spid="190" grpId="0" animBg="1"/>
      <p:bldP spid="19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24"/>
          <p:cNvSpPr txBox="1">
            <a:spLocks noGrp="1"/>
          </p:cNvSpPr>
          <p:nvPr>
            <p:ph type="title"/>
          </p:nvPr>
        </p:nvSpPr>
        <p:spPr>
          <a:xfrm>
            <a:off x="458272" y="205980"/>
            <a:ext cx="8227457" cy="5333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694" rIns="0" bIns="45694" anchor="ctr" anchorCtr="0">
            <a:noAutofit/>
          </a:bodyPr>
          <a:lstStyle/>
          <a:p>
            <a:pPr>
              <a:buClr>
                <a:srgbClr val="3F3F3F"/>
              </a:buClr>
            </a:pPr>
            <a:r>
              <a:rPr lang="en-US">
                <a:solidFill>
                  <a:srgbClr val="3F3F3F"/>
                </a:solidFill>
              </a:rPr>
              <a:t>Horizontal Level Flat Funnels for PowerPoint</a:t>
            </a:r>
            <a:endParaRPr/>
          </a:p>
        </p:txBody>
      </p:sp>
      <p:sp>
        <p:nvSpPr>
          <p:cNvPr id="205" name="Google Shape;205;p24"/>
          <p:cNvSpPr/>
          <p:nvPr/>
        </p:nvSpPr>
        <p:spPr>
          <a:xfrm>
            <a:off x="2477692" y="1243013"/>
            <a:ext cx="4185047" cy="166092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95869" y="88217"/>
                </a:moveTo>
                <a:cubicBezTo>
                  <a:pt x="101667" y="61120"/>
                  <a:pt x="109524" y="32597"/>
                  <a:pt x="120000" y="3870"/>
                </a:cubicBezTo>
                <a:cubicBezTo>
                  <a:pt x="72112" y="3870"/>
                  <a:pt x="72112" y="3870"/>
                  <a:pt x="72112" y="3870"/>
                </a:cubicBezTo>
                <a:cubicBezTo>
                  <a:pt x="30210" y="0"/>
                  <a:pt x="30210" y="0"/>
                  <a:pt x="30210" y="0"/>
                </a:cubicBezTo>
                <a:cubicBezTo>
                  <a:pt x="0" y="3870"/>
                  <a:pt x="0" y="3870"/>
                  <a:pt x="0" y="3870"/>
                </a:cubicBezTo>
                <a:cubicBezTo>
                  <a:pt x="0" y="3870"/>
                  <a:pt x="13187" y="34431"/>
                  <a:pt x="24692" y="88624"/>
                </a:cubicBezTo>
                <a:cubicBezTo>
                  <a:pt x="60795" y="120000"/>
                  <a:pt x="92408" y="91477"/>
                  <a:pt x="95869" y="8821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06" name="Google Shape;206;p24"/>
          <p:cNvSpPr/>
          <p:nvPr/>
        </p:nvSpPr>
        <p:spPr>
          <a:xfrm>
            <a:off x="3338514" y="2464594"/>
            <a:ext cx="2483644" cy="145137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466"/>
                </a:moveTo>
                <a:cubicBezTo>
                  <a:pt x="8199" y="27029"/>
                  <a:pt x="16084" y="58718"/>
                  <a:pt x="21287" y="94834"/>
                </a:cubicBezTo>
                <a:cubicBezTo>
                  <a:pt x="30275" y="100893"/>
                  <a:pt x="63547" y="120000"/>
                  <a:pt x="97608" y="94368"/>
                </a:cubicBezTo>
                <a:cubicBezTo>
                  <a:pt x="102023" y="66640"/>
                  <a:pt x="108804" y="34485"/>
                  <a:pt x="120000" y="0"/>
                </a:cubicBezTo>
                <a:cubicBezTo>
                  <a:pt x="114165" y="3728"/>
                  <a:pt x="60867" y="36349"/>
                  <a:pt x="0" y="46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07" name="Google Shape;207;p24"/>
          <p:cNvSpPr/>
          <p:nvPr/>
        </p:nvSpPr>
        <p:spPr>
          <a:xfrm>
            <a:off x="3779045" y="3605213"/>
            <a:ext cx="1578769" cy="126087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9586" y="108187"/>
                </a:moveTo>
                <a:cubicBezTo>
                  <a:pt x="109338" y="101744"/>
                  <a:pt x="107355" y="59865"/>
                  <a:pt x="120000" y="0"/>
                </a:cubicBezTo>
                <a:cubicBezTo>
                  <a:pt x="66446" y="29530"/>
                  <a:pt x="14132" y="7516"/>
                  <a:pt x="0" y="536"/>
                </a:cubicBezTo>
                <a:cubicBezTo>
                  <a:pt x="6694" y="33557"/>
                  <a:pt x="10909" y="69798"/>
                  <a:pt x="10909" y="108724"/>
                </a:cubicBezTo>
                <a:cubicBezTo>
                  <a:pt x="10909" y="108724"/>
                  <a:pt x="10909" y="108724"/>
                  <a:pt x="10909" y="108724"/>
                </a:cubicBezTo>
                <a:cubicBezTo>
                  <a:pt x="10909" y="108724"/>
                  <a:pt x="10909" y="108724"/>
                  <a:pt x="10909" y="108724"/>
                </a:cubicBezTo>
                <a:cubicBezTo>
                  <a:pt x="10909" y="114899"/>
                  <a:pt x="32975" y="120000"/>
                  <a:pt x="60247" y="120000"/>
                </a:cubicBezTo>
                <a:cubicBezTo>
                  <a:pt x="87272" y="120000"/>
                  <a:pt x="109090" y="115167"/>
                  <a:pt x="109586" y="108993"/>
                </a:cubicBezTo>
                <a:cubicBezTo>
                  <a:pt x="109586" y="108993"/>
                  <a:pt x="109586" y="108993"/>
                  <a:pt x="109586" y="108993"/>
                </a:cubicBezTo>
                <a:cubicBezTo>
                  <a:pt x="109586" y="108993"/>
                  <a:pt x="109586" y="108993"/>
                  <a:pt x="109586" y="108993"/>
                </a:cubicBezTo>
                <a:cubicBezTo>
                  <a:pt x="109586" y="108993"/>
                  <a:pt x="109586" y="108993"/>
                  <a:pt x="109586" y="108724"/>
                </a:cubicBezTo>
                <a:cubicBezTo>
                  <a:pt x="109586" y="108724"/>
                  <a:pt x="109586" y="108456"/>
                  <a:pt x="109586" y="10818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08" name="Google Shape;208;p24"/>
          <p:cNvSpPr/>
          <p:nvPr/>
        </p:nvSpPr>
        <p:spPr>
          <a:xfrm>
            <a:off x="5276851" y="1296591"/>
            <a:ext cx="1040606" cy="1310879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47774" y="13677"/>
                </a:moveTo>
                <a:cubicBezTo>
                  <a:pt x="47774" y="13677"/>
                  <a:pt x="23322" y="51870"/>
                  <a:pt x="0" y="120000"/>
                </a:cubicBezTo>
                <a:cubicBezTo>
                  <a:pt x="15423" y="117677"/>
                  <a:pt x="28589" y="115096"/>
                  <a:pt x="38746" y="112774"/>
                </a:cubicBezTo>
                <a:cubicBezTo>
                  <a:pt x="57178" y="79483"/>
                  <a:pt x="81253" y="44129"/>
                  <a:pt x="112476" y="8258"/>
                </a:cubicBezTo>
                <a:cubicBezTo>
                  <a:pt x="116238" y="4903"/>
                  <a:pt x="118495" y="2064"/>
                  <a:pt x="120000" y="0"/>
                </a:cubicBezTo>
                <a:cubicBezTo>
                  <a:pt x="79749" y="0"/>
                  <a:pt x="79749" y="0"/>
                  <a:pt x="79749" y="0"/>
                </a:cubicBezTo>
                <a:cubicBezTo>
                  <a:pt x="48526" y="7483"/>
                  <a:pt x="48526" y="7483"/>
                  <a:pt x="48526" y="7483"/>
                </a:cubicBezTo>
                <a:lnTo>
                  <a:pt x="47774" y="13677"/>
                </a:lnTo>
                <a:close/>
              </a:path>
            </a:pathLst>
          </a:custGeom>
          <a:solidFill>
            <a:srgbClr val="538CD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09" name="Google Shape;209;p24"/>
          <p:cNvSpPr/>
          <p:nvPr/>
        </p:nvSpPr>
        <p:spPr>
          <a:xfrm>
            <a:off x="5042298" y="2528888"/>
            <a:ext cx="570310" cy="1181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120000"/>
                </a:moveTo>
                <a:cubicBezTo>
                  <a:pt x="13714" y="118568"/>
                  <a:pt x="26742" y="116563"/>
                  <a:pt x="40457" y="114272"/>
                </a:cubicBezTo>
                <a:cubicBezTo>
                  <a:pt x="56914" y="80763"/>
                  <a:pt x="81600" y="41813"/>
                  <a:pt x="119999" y="0"/>
                </a:cubicBezTo>
                <a:cubicBezTo>
                  <a:pt x="101485" y="2577"/>
                  <a:pt x="77485" y="5441"/>
                  <a:pt x="49371" y="8019"/>
                </a:cubicBezTo>
                <a:cubicBezTo>
                  <a:pt x="31542" y="39522"/>
                  <a:pt x="13714" y="77326"/>
                  <a:pt x="0" y="120000"/>
                </a:cubicBezTo>
                <a:close/>
              </a:path>
            </a:pathLst>
          </a:custGeom>
          <a:solidFill>
            <a:srgbClr val="397FEE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0" name="Google Shape;210;p24"/>
          <p:cNvSpPr/>
          <p:nvPr/>
        </p:nvSpPr>
        <p:spPr>
          <a:xfrm>
            <a:off x="4933951" y="3654029"/>
            <a:ext cx="300038" cy="1191816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20000" y="0"/>
                </a:moveTo>
                <a:cubicBezTo>
                  <a:pt x="93913" y="2269"/>
                  <a:pt x="69130" y="4255"/>
                  <a:pt x="43043" y="5673"/>
                </a:cubicBezTo>
                <a:cubicBezTo>
                  <a:pt x="22173" y="40567"/>
                  <a:pt x="6521" y="78581"/>
                  <a:pt x="0" y="120000"/>
                </a:cubicBezTo>
                <a:cubicBezTo>
                  <a:pt x="2608" y="119716"/>
                  <a:pt x="5217" y="119716"/>
                  <a:pt x="7826" y="119716"/>
                </a:cubicBezTo>
                <a:cubicBezTo>
                  <a:pt x="9130" y="119716"/>
                  <a:pt x="10434" y="119432"/>
                  <a:pt x="11739" y="119432"/>
                </a:cubicBezTo>
                <a:cubicBezTo>
                  <a:pt x="14347" y="119432"/>
                  <a:pt x="15652" y="119432"/>
                  <a:pt x="16956" y="119432"/>
                </a:cubicBezTo>
                <a:cubicBezTo>
                  <a:pt x="18260" y="119148"/>
                  <a:pt x="19565" y="119148"/>
                  <a:pt x="22173" y="119148"/>
                </a:cubicBezTo>
                <a:cubicBezTo>
                  <a:pt x="23478" y="119148"/>
                  <a:pt x="24782" y="119148"/>
                  <a:pt x="26086" y="118865"/>
                </a:cubicBezTo>
                <a:cubicBezTo>
                  <a:pt x="27391" y="118865"/>
                  <a:pt x="28695" y="118865"/>
                  <a:pt x="30000" y="118865"/>
                </a:cubicBezTo>
                <a:cubicBezTo>
                  <a:pt x="31304" y="118865"/>
                  <a:pt x="32608" y="118581"/>
                  <a:pt x="35217" y="118581"/>
                </a:cubicBezTo>
                <a:cubicBezTo>
                  <a:pt x="36521" y="118581"/>
                  <a:pt x="37826" y="118581"/>
                  <a:pt x="39130" y="118581"/>
                </a:cubicBezTo>
                <a:cubicBezTo>
                  <a:pt x="40434" y="118297"/>
                  <a:pt x="41739" y="118297"/>
                  <a:pt x="43043" y="118297"/>
                </a:cubicBezTo>
                <a:cubicBezTo>
                  <a:pt x="44347" y="118297"/>
                  <a:pt x="45652" y="118297"/>
                  <a:pt x="46956" y="118014"/>
                </a:cubicBezTo>
                <a:cubicBezTo>
                  <a:pt x="48260" y="118014"/>
                  <a:pt x="49565" y="118014"/>
                  <a:pt x="50869" y="118014"/>
                </a:cubicBezTo>
                <a:cubicBezTo>
                  <a:pt x="53478" y="117730"/>
                  <a:pt x="56086" y="117730"/>
                  <a:pt x="58695" y="117446"/>
                </a:cubicBezTo>
                <a:cubicBezTo>
                  <a:pt x="58695" y="117446"/>
                  <a:pt x="60000" y="117446"/>
                  <a:pt x="61304" y="117446"/>
                </a:cubicBezTo>
                <a:cubicBezTo>
                  <a:pt x="60000" y="104397"/>
                  <a:pt x="62608" y="60709"/>
                  <a:pt x="120000" y="0"/>
                </a:cubicBezTo>
                <a:close/>
              </a:path>
            </a:pathLst>
          </a:custGeom>
          <a:solidFill>
            <a:srgbClr val="5BA0E9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1" name="Google Shape;211;p24"/>
          <p:cNvSpPr/>
          <p:nvPr/>
        </p:nvSpPr>
        <p:spPr>
          <a:xfrm>
            <a:off x="2468166" y="1015604"/>
            <a:ext cx="4201716" cy="515541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2" name="Google Shape;212;p24"/>
          <p:cNvSpPr/>
          <p:nvPr/>
        </p:nvSpPr>
        <p:spPr>
          <a:xfrm>
            <a:off x="3146822" y="1110854"/>
            <a:ext cx="2847975" cy="323850"/>
          </a:xfrm>
          <a:prstGeom prst="ellipse">
            <a:avLst/>
          </a:prstGeom>
          <a:solidFill>
            <a:srgbClr val="01153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3" name="Google Shape;213;p24"/>
          <p:cNvSpPr/>
          <p:nvPr/>
        </p:nvSpPr>
        <p:spPr>
          <a:xfrm>
            <a:off x="6017420" y="1319212"/>
            <a:ext cx="3125391" cy="1158479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20000" y="89051"/>
                </a:moveTo>
                <a:cubicBezTo>
                  <a:pt x="120000" y="875"/>
                  <a:pt x="120000" y="875"/>
                  <a:pt x="120000" y="875"/>
                </a:cubicBezTo>
                <a:cubicBezTo>
                  <a:pt x="36826" y="0"/>
                  <a:pt x="36826" y="0"/>
                  <a:pt x="36826" y="0"/>
                </a:cubicBezTo>
                <a:cubicBezTo>
                  <a:pt x="24926" y="29197"/>
                  <a:pt x="15281" y="59270"/>
                  <a:pt x="7515" y="89051"/>
                </a:cubicBezTo>
                <a:cubicBezTo>
                  <a:pt x="4759" y="99562"/>
                  <a:pt x="2379" y="109781"/>
                  <a:pt x="0" y="120000"/>
                </a:cubicBezTo>
                <a:cubicBezTo>
                  <a:pt x="120000" y="120000"/>
                  <a:pt x="120000" y="120000"/>
                  <a:pt x="120000" y="120000"/>
                </a:cubicBezTo>
                <a:lnTo>
                  <a:pt x="120000" y="8905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4" name="Google Shape;214;p24"/>
          <p:cNvSpPr/>
          <p:nvPr/>
        </p:nvSpPr>
        <p:spPr>
          <a:xfrm>
            <a:off x="5505451" y="2477691"/>
            <a:ext cx="3637360" cy="115014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20000" y="58235"/>
                </a:moveTo>
                <a:cubicBezTo>
                  <a:pt x="120000" y="0"/>
                  <a:pt x="120000" y="0"/>
                  <a:pt x="120000" y="0"/>
                </a:cubicBezTo>
                <a:cubicBezTo>
                  <a:pt x="16896" y="0"/>
                  <a:pt x="16896" y="0"/>
                  <a:pt x="16896" y="0"/>
                </a:cubicBezTo>
                <a:cubicBezTo>
                  <a:pt x="13130" y="19705"/>
                  <a:pt x="9901" y="39411"/>
                  <a:pt x="7210" y="58235"/>
                </a:cubicBezTo>
                <a:cubicBezTo>
                  <a:pt x="4197" y="80000"/>
                  <a:pt x="1829" y="100588"/>
                  <a:pt x="0" y="120000"/>
                </a:cubicBezTo>
                <a:cubicBezTo>
                  <a:pt x="120000" y="120000"/>
                  <a:pt x="120000" y="120000"/>
                  <a:pt x="120000" y="120000"/>
                </a:cubicBezTo>
                <a:lnTo>
                  <a:pt x="120000" y="5823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5" name="Google Shape;215;p24"/>
          <p:cNvSpPr/>
          <p:nvPr/>
        </p:nvSpPr>
        <p:spPr>
          <a:xfrm>
            <a:off x="5312570" y="3627835"/>
            <a:ext cx="3830241" cy="113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6030" y="0"/>
                </a:moveTo>
                <a:cubicBezTo>
                  <a:pt x="5110" y="10149"/>
                  <a:pt x="4395" y="20000"/>
                  <a:pt x="3781" y="29253"/>
                </a:cubicBezTo>
                <a:cubicBezTo>
                  <a:pt x="0" y="83880"/>
                  <a:pt x="306" y="120000"/>
                  <a:pt x="306" y="120000"/>
                </a:cubicBezTo>
                <a:cubicBezTo>
                  <a:pt x="120000" y="120000"/>
                  <a:pt x="120000" y="120000"/>
                  <a:pt x="120000" y="120000"/>
                </a:cubicBezTo>
                <a:cubicBezTo>
                  <a:pt x="120000" y="29253"/>
                  <a:pt x="120000" y="29253"/>
                  <a:pt x="120000" y="29253"/>
                </a:cubicBezTo>
                <a:cubicBezTo>
                  <a:pt x="120000" y="0"/>
                  <a:pt x="120000" y="0"/>
                  <a:pt x="120000" y="0"/>
                </a:cubicBezTo>
                <a:lnTo>
                  <a:pt x="603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6" name="Google Shape;216;p24"/>
          <p:cNvSpPr/>
          <p:nvPr/>
        </p:nvSpPr>
        <p:spPr>
          <a:xfrm>
            <a:off x="-2382" y="2477691"/>
            <a:ext cx="3634979" cy="1150144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03087" y="0"/>
                </a:moveTo>
                <a:cubicBezTo>
                  <a:pt x="0" y="0"/>
                  <a:pt x="0" y="0"/>
                  <a:pt x="0" y="0"/>
                </a:cubicBezTo>
                <a:cubicBezTo>
                  <a:pt x="0" y="58235"/>
                  <a:pt x="0" y="58235"/>
                  <a:pt x="0" y="58235"/>
                </a:cubicBezTo>
                <a:cubicBezTo>
                  <a:pt x="0" y="120000"/>
                  <a:pt x="0" y="120000"/>
                  <a:pt x="0" y="120000"/>
                </a:cubicBezTo>
                <a:cubicBezTo>
                  <a:pt x="120000" y="120000"/>
                  <a:pt x="120000" y="120000"/>
                  <a:pt x="120000" y="120000"/>
                </a:cubicBezTo>
                <a:cubicBezTo>
                  <a:pt x="118168" y="100588"/>
                  <a:pt x="115906" y="80000"/>
                  <a:pt x="112782" y="58235"/>
                </a:cubicBezTo>
                <a:cubicBezTo>
                  <a:pt x="110197" y="39411"/>
                  <a:pt x="106965" y="19705"/>
                  <a:pt x="10308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7" name="Google Shape;217;p24"/>
          <p:cNvSpPr/>
          <p:nvPr/>
        </p:nvSpPr>
        <p:spPr>
          <a:xfrm>
            <a:off x="-2381" y="3627835"/>
            <a:ext cx="3830241" cy="1133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29253"/>
                </a:moveTo>
                <a:cubicBezTo>
                  <a:pt x="0" y="120000"/>
                  <a:pt x="0" y="120000"/>
                  <a:pt x="0" y="120000"/>
                </a:cubicBezTo>
                <a:cubicBezTo>
                  <a:pt x="119693" y="120000"/>
                  <a:pt x="119693" y="120000"/>
                  <a:pt x="119693" y="120000"/>
                </a:cubicBezTo>
                <a:cubicBezTo>
                  <a:pt x="119693" y="120000"/>
                  <a:pt x="120000" y="83880"/>
                  <a:pt x="116218" y="29253"/>
                </a:cubicBezTo>
                <a:cubicBezTo>
                  <a:pt x="115604" y="20000"/>
                  <a:pt x="114787" y="10149"/>
                  <a:pt x="113867" y="0"/>
                </a:cubicBezTo>
                <a:cubicBezTo>
                  <a:pt x="0" y="0"/>
                  <a:pt x="0" y="0"/>
                  <a:pt x="0" y="0"/>
                </a:cubicBezTo>
                <a:lnTo>
                  <a:pt x="0" y="292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18" name="Google Shape;218;p24"/>
          <p:cNvSpPr/>
          <p:nvPr/>
        </p:nvSpPr>
        <p:spPr>
          <a:xfrm>
            <a:off x="-2381" y="1319212"/>
            <a:ext cx="3123010" cy="1158479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2601" y="89051"/>
                </a:moveTo>
                <a:cubicBezTo>
                  <a:pt x="104702" y="59270"/>
                  <a:pt x="95047" y="29197"/>
                  <a:pt x="83260" y="0"/>
                </a:cubicBezTo>
                <a:cubicBezTo>
                  <a:pt x="0" y="875"/>
                  <a:pt x="0" y="875"/>
                  <a:pt x="0" y="875"/>
                </a:cubicBezTo>
                <a:cubicBezTo>
                  <a:pt x="0" y="89051"/>
                  <a:pt x="0" y="89051"/>
                  <a:pt x="0" y="89051"/>
                </a:cubicBezTo>
                <a:cubicBezTo>
                  <a:pt x="0" y="120000"/>
                  <a:pt x="0" y="120000"/>
                  <a:pt x="0" y="120000"/>
                </a:cubicBezTo>
                <a:cubicBezTo>
                  <a:pt x="120000" y="120000"/>
                  <a:pt x="120000" y="120000"/>
                  <a:pt x="120000" y="120000"/>
                </a:cubicBezTo>
                <a:cubicBezTo>
                  <a:pt x="117742" y="109781"/>
                  <a:pt x="115235" y="99562"/>
                  <a:pt x="112601" y="8905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800">
              <a:solidFill>
                <a:schemeClr val="dk1"/>
              </a:solidFill>
            </a:endParaRPr>
          </a:p>
        </p:txBody>
      </p:sp>
      <p:sp>
        <p:nvSpPr>
          <p:cNvPr id="220" name="Google Shape;220;p24"/>
          <p:cNvSpPr txBox="1"/>
          <p:nvPr/>
        </p:nvSpPr>
        <p:spPr>
          <a:xfrm>
            <a:off x="4285372" y="1829052"/>
            <a:ext cx="2137418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 smtClean="0">
                <a:solidFill>
                  <a:schemeClr val="lt1"/>
                </a:solidFill>
              </a:rPr>
              <a:t>50%</a:t>
            </a:r>
            <a:endParaRPr sz="1500" dirty="0">
              <a:solidFill>
                <a:schemeClr val="lt1"/>
              </a:solidFill>
            </a:endParaRPr>
          </a:p>
        </p:txBody>
      </p:sp>
      <p:sp>
        <p:nvSpPr>
          <p:cNvPr id="221" name="Google Shape;221;p24"/>
          <p:cNvSpPr txBox="1"/>
          <p:nvPr/>
        </p:nvSpPr>
        <p:spPr>
          <a:xfrm>
            <a:off x="514980" y="1656079"/>
            <a:ext cx="2520213" cy="484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2000" b="1" dirty="0" smtClean="0">
                <a:solidFill>
                  <a:schemeClr val="lt1"/>
                </a:solidFill>
              </a:rPr>
              <a:t>ECONOMIC IMPACT</a:t>
            </a:r>
            <a:endParaRPr sz="2000" b="1" dirty="0">
              <a:solidFill>
                <a:schemeClr val="lt1"/>
              </a:solidFill>
            </a:endParaRPr>
          </a:p>
        </p:txBody>
      </p:sp>
      <p:sp>
        <p:nvSpPr>
          <p:cNvPr id="223" name="Google Shape;223;p24"/>
          <p:cNvSpPr txBox="1"/>
          <p:nvPr/>
        </p:nvSpPr>
        <p:spPr>
          <a:xfrm>
            <a:off x="4285372" y="2983363"/>
            <a:ext cx="2137418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 smtClean="0">
                <a:solidFill>
                  <a:schemeClr val="lt1"/>
                </a:solidFill>
              </a:rPr>
              <a:t>40%</a:t>
            </a:r>
            <a:endParaRPr sz="1500" dirty="0">
              <a:solidFill>
                <a:schemeClr val="lt1"/>
              </a:solidFill>
            </a:endParaRPr>
          </a:p>
        </p:txBody>
      </p:sp>
      <p:sp>
        <p:nvSpPr>
          <p:cNvPr id="224" name="Google Shape;224;p24"/>
          <p:cNvSpPr txBox="1"/>
          <p:nvPr/>
        </p:nvSpPr>
        <p:spPr>
          <a:xfrm>
            <a:off x="514979" y="2810389"/>
            <a:ext cx="2767573" cy="484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2000" b="1" dirty="0" smtClean="0">
                <a:solidFill>
                  <a:schemeClr val="lt1"/>
                </a:solidFill>
              </a:rPr>
              <a:t>COMPLEXITY LEVEL</a:t>
            </a:r>
            <a:endParaRPr sz="2000" b="1" dirty="0">
              <a:solidFill>
                <a:schemeClr val="lt1"/>
              </a:solidFill>
            </a:endParaRPr>
          </a:p>
        </p:txBody>
      </p:sp>
      <p:sp>
        <p:nvSpPr>
          <p:cNvPr id="226" name="Google Shape;226;p24"/>
          <p:cNvSpPr txBox="1"/>
          <p:nvPr/>
        </p:nvSpPr>
        <p:spPr>
          <a:xfrm>
            <a:off x="4285372" y="4125173"/>
            <a:ext cx="2137418" cy="300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1500" dirty="0" smtClean="0">
                <a:solidFill>
                  <a:schemeClr val="lt1"/>
                </a:solidFill>
              </a:rPr>
              <a:t>10%</a:t>
            </a:r>
            <a:endParaRPr sz="1500" dirty="0">
              <a:solidFill>
                <a:schemeClr val="lt1"/>
              </a:solidFill>
            </a:endParaRPr>
          </a:p>
        </p:txBody>
      </p:sp>
      <p:sp>
        <p:nvSpPr>
          <p:cNvPr id="227" name="Google Shape;227;p24"/>
          <p:cNvSpPr txBox="1"/>
          <p:nvPr/>
        </p:nvSpPr>
        <p:spPr>
          <a:xfrm>
            <a:off x="514979" y="3952199"/>
            <a:ext cx="2381901" cy="484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2000" b="1" dirty="0" smtClean="0">
                <a:solidFill>
                  <a:schemeClr val="lt1"/>
                </a:solidFill>
              </a:rPr>
              <a:t>BATCH NUMBER</a:t>
            </a:r>
            <a:endParaRPr sz="2000" b="1" dirty="0">
              <a:solidFill>
                <a:schemeClr val="lt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69418" y="1379455"/>
            <a:ext cx="18672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Sav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Reven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Risk Avo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Risks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969164" y="2530760"/>
            <a:ext cx="18672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Complex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Effor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969163" y="3902036"/>
            <a:ext cx="18672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PH" dirty="0" smtClean="0">
                <a:solidFill>
                  <a:srgbClr val="FFFFFF"/>
                </a:solidFill>
              </a:rPr>
              <a:t>Order of which RPA candidates are sent</a:t>
            </a:r>
          </a:p>
        </p:txBody>
      </p:sp>
    </p:spTree>
    <p:extLst>
      <p:ext uri="{BB962C8B-B14F-4D97-AF65-F5344CB8AC3E}">
        <p14:creationId xmlns:p14="http://schemas.microsoft.com/office/powerpoint/2010/main" val="985082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1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2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3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4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5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0" grpId="0"/>
      <p:bldP spid="221" grpId="0"/>
      <p:bldP spid="223" grpId="0"/>
      <p:bldP spid="224" grpId="0"/>
      <p:bldP spid="226" grpId="0"/>
      <p:bldP spid="22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4"/>
          <p:cNvSpPr txBox="1">
            <a:spLocks noGrp="1"/>
          </p:cNvSpPr>
          <p:nvPr>
            <p:ph type="title"/>
          </p:nvPr>
        </p:nvSpPr>
        <p:spPr>
          <a:xfrm>
            <a:off x="311700" y="31146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USE RULES</a:t>
            </a:r>
            <a:endParaRPr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/>
          </a:p>
        </p:txBody>
      </p:sp>
      <p:sp>
        <p:nvSpPr>
          <p:cNvPr id="42" name="Google Shape;52;p7"/>
          <p:cNvSpPr/>
          <p:nvPr/>
        </p:nvSpPr>
        <p:spPr>
          <a:xfrm>
            <a:off x="0" y="1138335"/>
            <a:ext cx="9144000" cy="2663016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" name="Google Shape;53;p7"/>
          <p:cNvSpPr/>
          <p:nvPr/>
        </p:nvSpPr>
        <p:spPr>
          <a:xfrm>
            <a:off x="1660958" y="875897"/>
            <a:ext cx="1273884" cy="369297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3129"/>
                </a:moveTo>
                <a:lnTo>
                  <a:pt x="21600" y="17875"/>
                </a:lnTo>
                <a:cubicBezTo>
                  <a:pt x="21600" y="19932"/>
                  <a:pt x="16765" y="21600"/>
                  <a:pt x="10800" y="21600"/>
                </a:cubicBezTo>
                <a:lnTo>
                  <a:pt x="10800" y="21600"/>
                </a:lnTo>
                <a:cubicBezTo>
                  <a:pt x="4835" y="21600"/>
                  <a:pt x="0" y="19932"/>
                  <a:pt x="0" y="17875"/>
                </a:cubicBezTo>
                <a:lnTo>
                  <a:pt x="0" y="11771"/>
                </a:lnTo>
                <a:cubicBezTo>
                  <a:pt x="0" y="10985"/>
                  <a:pt x="327" y="10210"/>
                  <a:pt x="955" y="9469"/>
                </a:cubicBezTo>
                <a:cubicBezTo>
                  <a:pt x="2448" y="7709"/>
                  <a:pt x="6318" y="6323"/>
                  <a:pt x="11244" y="5633"/>
                </a:cubicBezTo>
                <a:cubicBezTo>
                  <a:pt x="13335" y="5340"/>
                  <a:pt x="15579" y="4795"/>
                  <a:pt x="16409" y="3783"/>
                </a:cubicBezTo>
                <a:cubicBezTo>
                  <a:pt x="17270" y="2734"/>
                  <a:pt x="15012" y="1671"/>
                  <a:pt x="11853" y="1642"/>
                </a:cubicBezTo>
                <a:cubicBezTo>
                  <a:pt x="11767" y="1641"/>
                  <a:pt x="11680" y="1640"/>
                  <a:pt x="11592" y="1640"/>
                </a:cubicBezTo>
                <a:cubicBezTo>
                  <a:pt x="6637" y="1640"/>
                  <a:pt x="2080" y="1640"/>
                  <a:pt x="2080" y="1640"/>
                </a:cubicBezTo>
                <a:cubicBezTo>
                  <a:pt x="2080" y="1640"/>
                  <a:pt x="3962" y="0"/>
                  <a:pt x="12385" y="0"/>
                </a:cubicBezTo>
                <a:cubicBezTo>
                  <a:pt x="12517" y="0"/>
                  <a:pt x="12646" y="1"/>
                  <a:pt x="12774" y="1"/>
                </a:cubicBezTo>
                <a:cubicBezTo>
                  <a:pt x="17688" y="32"/>
                  <a:pt x="21600" y="1434"/>
                  <a:pt x="21600" y="3129"/>
                </a:cubicBezTo>
                <a:close/>
              </a:path>
            </a:pathLst>
          </a:custGeom>
          <a:solidFill>
            <a:srgbClr val="4CC1EF"/>
          </a:solidFill>
          <a:ln>
            <a:noFill/>
          </a:ln>
        </p:spPr>
        <p:txBody>
          <a:bodyPr spcFirstLastPara="1" wrap="square" lIns="28575" tIns="594000" rIns="28575" bIns="2857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lose all laptops unless needed for</a:t>
            </a:r>
            <a:r>
              <a:rPr kumimoji="0" lang="en-US" sz="1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 discussion.</a:t>
            </a:r>
            <a:endParaRPr kumimoji="0" sz="1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54;p7"/>
          <p:cNvSpPr/>
          <p:nvPr/>
        </p:nvSpPr>
        <p:spPr>
          <a:xfrm>
            <a:off x="1849404" y="3472236"/>
            <a:ext cx="906626" cy="9066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55;p7"/>
          <p:cNvSpPr/>
          <p:nvPr/>
        </p:nvSpPr>
        <p:spPr>
          <a:xfrm>
            <a:off x="3898050" y="859507"/>
            <a:ext cx="1273884" cy="369297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3129"/>
                </a:moveTo>
                <a:lnTo>
                  <a:pt x="21600" y="17875"/>
                </a:lnTo>
                <a:cubicBezTo>
                  <a:pt x="21600" y="19932"/>
                  <a:pt x="16765" y="21600"/>
                  <a:pt x="10800" y="21600"/>
                </a:cubicBezTo>
                <a:lnTo>
                  <a:pt x="10800" y="21600"/>
                </a:lnTo>
                <a:cubicBezTo>
                  <a:pt x="4835" y="21600"/>
                  <a:pt x="0" y="19932"/>
                  <a:pt x="0" y="17875"/>
                </a:cubicBezTo>
                <a:lnTo>
                  <a:pt x="0" y="11771"/>
                </a:lnTo>
                <a:cubicBezTo>
                  <a:pt x="0" y="10985"/>
                  <a:pt x="327" y="10210"/>
                  <a:pt x="955" y="9469"/>
                </a:cubicBezTo>
                <a:cubicBezTo>
                  <a:pt x="2448" y="7709"/>
                  <a:pt x="6318" y="6323"/>
                  <a:pt x="11244" y="5633"/>
                </a:cubicBezTo>
                <a:cubicBezTo>
                  <a:pt x="13335" y="5340"/>
                  <a:pt x="15579" y="4795"/>
                  <a:pt x="16409" y="3783"/>
                </a:cubicBezTo>
                <a:cubicBezTo>
                  <a:pt x="17272" y="2734"/>
                  <a:pt x="15012" y="1671"/>
                  <a:pt x="11853" y="1642"/>
                </a:cubicBezTo>
                <a:cubicBezTo>
                  <a:pt x="11767" y="1641"/>
                  <a:pt x="11680" y="1640"/>
                  <a:pt x="11592" y="1640"/>
                </a:cubicBezTo>
                <a:cubicBezTo>
                  <a:pt x="6637" y="1640"/>
                  <a:pt x="2080" y="1640"/>
                  <a:pt x="2080" y="1640"/>
                </a:cubicBezTo>
                <a:cubicBezTo>
                  <a:pt x="2080" y="1640"/>
                  <a:pt x="3962" y="0"/>
                  <a:pt x="12385" y="0"/>
                </a:cubicBezTo>
                <a:cubicBezTo>
                  <a:pt x="12517" y="0"/>
                  <a:pt x="12646" y="1"/>
                  <a:pt x="12774" y="1"/>
                </a:cubicBezTo>
                <a:cubicBezTo>
                  <a:pt x="17688" y="32"/>
                  <a:pt x="21600" y="1434"/>
                  <a:pt x="21600" y="3129"/>
                </a:cubicBezTo>
                <a:close/>
              </a:path>
            </a:pathLst>
          </a:custGeom>
          <a:solidFill>
            <a:srgbClr val="F7931F"/>
          </a:solidFill>
          <a:ln>
            <a:noFill/>
          </a:ln>
        </p:spPr>
        <p:txBody>
          <a:bodyPr spcFirstLastPara="1" wrap="square" lIns="28575" tIns="594000" rIns="28575" bIns="28575" anchor="ctr" anchorCtr="0">
            <a:noAutofit/>
          </a:bodyPr>
          <a:lstStyle/>
          <a:p>
            <a:pPr algn="ctr">
              <a:buClrTx/>
            </a:pPr>
            <a:r>
              <a:rPr lang="en-US" sz="1200" b="1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o use of cellphones during the discussion unless there is an emergency.</a:t>
            </a:r>
            <a:endParaRPr lang="en-US" sz="1200" b="1" dirty="0">
              <a:solidFill>
                <a:schemeClr val="tx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" name="Google Shape;56;p7"/>
          <p:cNvSpPr/>
          <p:nvPr/>
        </p:nvSpPr>
        <p:spPr>
          <a:xfrm>
            <a:off x="4102199" y="3455846"/>
            <a:ext cx="906626" cy="9066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57;p7"/>
          <p:cNvSpPr/>
          <p:nvPr/>
        </p:nvSpPr>
        <p:spPr>
          <a:xfrm>
            <a:off x="6090728" y="867210"/>
            <a:ext cx="1273884" cy="369297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3129"/>
                </a:moveTo>
                <a:lnTo>
                  <a:pt x="21600" y="17875"/>
                </a:lnTo>
                <a:cubicBezTo>
                  <a:pt x="21600" y="19932"/>
                  <a:pt x="16765" y="21600"/>
                  <a:pt x="10800" y="21600"/>
                </a:cubicBezTo>
                <a:lnTo>
                  <a:pt x="10800" y="21600"/>
                </a:lnTo>
                <a:cubicBezTo>
                  <a:pt x="4835" y="21600"/>
                  <a:pt x="0" y="19932"/>
                  <a:pt x="0" y="17875"/>
                </a:cubicBezTo>
                <a:lnTo>
                  <a:pt x="0" y="11771"/>
                </a:lnTo>
                <a:cubicBezTo>
                  <a:pt x="0" y="10985"/>
                  <a:pt x="327" y="10210"/>
                  <a:pt x="955" y="9469"/>
                </a:cubicBezTo>
                <a:cubicBezTo>
                  <a:pt x="2448" y="7709"/>
                  <a:pt x="6318" y="6323"/>
                  <a:pt x="11244" y="5633"/>
                </a:cubicBezTo>
                <a:cubicBezTo>
                  <a:pt x="13335" y="5340"/>
                  <a:pt x="15579" y="4795"/>
                  <a:pt x="16409" y="3783"/>
                </a:cubicBezTo>
                <a:cubicBezTo>
                  <a:pt x="17272" y="2734"/>
                  <a:pt x="15012" y="1671"/>
                  <a:pt x="11853" y="1642"/>
                </a:cubicBezTo>
                <a:cubicBezTo>
                  <a:pt x="11767" y="1641"/>
                  <a:pt x="11680" y="1640"/>
                  <a:pt x="11592" y="1640"/>
                </a:cubicBezTo>
                <a:cubicBezTo>
                  <a:pt x="6637" y="1640"/>
                  <a:pt x="2080" y="1640"/>
                  <a:pt x="2080" y="1640"/>
                </a:cubicBezTo>
                <a:cubicBezTo>
                  <a:pt x="2080" y="1640"/>
                  <a:pt x="3962" y="0"/>
                  <a:pt x="12385" y="0"/>
                </a:cubicBezTo>
                <a:cubicBezTo>
                  <a:pt x="12517" y="0"/>
                  <a:pt x="12646" y="1"/>
                  <a:pt x="12774" y="1"/>
                </a:cubicBezTo>
                <a:cubicBezTo>
                  <a:pt x="17688" y="32"/>
                  <a:pt x="21600" y="1434"/>
                  <a:pt x="21600" y="3129"/>
                </a:cubicBezTo>
                <a:close/>
              </a:path>
            </a:pathLst>
          </a:custGeom>
          <a:solidFill>
            <a:srgbClr val="A2B969"/>
          </a:solidFill>
          <a:ln>
            <a:noFill/>
          </a:ln>
        </p:spPr>
        <p:txBody>
          <a:bodyPr spcFirstLastPara="1" wrap="square" lIns="28575" tIns="594000" rIns="28575" bIns="28575" anchor="ctr" anchorCtr="0">
            <a:noAutofit/>
          </a:bodyPr>
          <a:lstStyle/>
          <a:p>
            <a:pPr algn="ctr">
              <a:buClrTx/>
            </a:pPr>
            <a:r>
              <a:rPr lang="en-US" sz="1200" b="1" dirty="0" smtClean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Questions can be raised during the lecture.</a:t>
            </a:r>
            <a:endParaRPr lang="en-US" sz="1200" b="1" dirty="0">
              <a:solidFill>
                <a:schemeClr val="tx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58;p7"/>
          <p:cNvSpPr/>
          <p:nvPr/>
        </p:nvSpPr>
        <p:spPr>
          <a:xfrm>
            <a:off x="6268703" y="3463549"/>
            <a:ext cx="906626" cy="9066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Google Shape;59;p7"/>
          <p:cNvSpPr txBox="1"/>
          <p:nvPr/>
        </p:nvSpPr>
        <p:spPr>
          <a:xfrm>
            <a:off x="2355602" y="2048023"/>
            <a:ext cx="52803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01</a:t>
            </a:r>
            <a:endParaRPr kumimoji="0" sz="105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" name="Google Shape;60;p7"/>
          <p:cNvSpPr txBox="1"/>
          <p:nvPr/>
        </p:nvSpPr>
        <p:spPr>
          <a:xfrm>
            <a:off x="4583625" y="2031633"/>
            <a:ext cx="52803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02</a:t>
            </a:r>
            <a:endParaRPr kumimoji="0" sz="105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" name="Google Shape;61;p7"/>
          <p:cNvSpPr txBox="1"/>
          <p:nvPr/>
        </p:nvSpPr>
        <p:spPr>
          <a:xfrm>
            <a:off x="6767234" y="2039336"/>
            <a:ext cx="528030" cy="530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03</a:t>
            </a:r>
            <a:endParaRPr kumimoji="0" sz="105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" name="Google Shape;65;p7"/>
          <p:cNvSpPr/>
          <p:nvPr/>
        </p:nvSpPr>
        <p:spPr>
          <a:xfrm>
            <a:off x="2110222" y="3614595"/>
            <a:ext cx="384988" cy="621905"/>
          </a:xfrm>
          <a:custGeom>
            <a:avLst/>
            <a:gdLst/>
            <a:ahLst/>
            <a:cxnLst/>
            <a:rect l="l" t="t" r="r" b="b"/>
            <a:pathLst>
              <a:path w="513317" h="829206" extrusionOk="0">
                <a:moveTo>
                  <a:pt x="192494" y="769976"/>
                </a:moveTo>
                <a:lnTo>
                  <a:pt x="320823" y="769976"/>
                </a:lnTo>
                <a:cubicBezTo>
                  <a:pt x="317862" y="803540"/>
                  <a:pt x="290222" y="829206"/>
                  <a:pt x="256659" y="829206"/>
                </a:cubicBezTo>
                <a:cubicBezTo>
                  <a:pt x="223096" y="829206"/>
                  <a:pt x="195455" y="803540"/>
                  <a:pt x="192494" y="769976"/>
                </a:cubicBezTo>
                <a:close/>
                <a:moveTo>
                  <a:pt x="157943" y="671261"/>
                </a:moveTo>
                <a:lnTo>
                  <a:pt x="355374" y="671261"/>
                </a:lnTo>
                <a:cubicBezTo>
                  <a:pt x="372156" y="671261"/>
                  <a:pt x="384989" y="684094"/>
                  <a:pt x="384989" y="700876"/>
                </a:cubicBezTo>
                <a:cubicBezTo>
                  <a:pt x="384989" y="717658"/>
                  <a:pt x="372156" y="730491"/>
                  <a:pt x="355374" y="730491"/>
                </a:cubicBezTo>
                <a:lnTo>
                  <a:pt x="157943" y="730491"/>
                </a:lnTo>
                <a:cubicBezTo>
                  <a:pt x="141162" y="730491"/>
                  <a:pt x="128329" y="717658"/>
                  <a:pt x="128329" y="700876"/>
                </a:cubicBezTo>
                <a:cubicBezTo>
                  <a:pt x="128329" y="684094"/>
                  <a:pt x="141162" y="671261"/>
                  <a:pt x="157943" y="671261"/>
                </a:cubicBezTo>
                <a:close/>
                <a:moveTo>
                  <a:pt x="157943" y="572546"/>
                </a:moveTo>
                <a:lnTo>
                  <a:pt x="355374" y="572546"/>
                </a:lnTo>
                <a:cubicBezTo>
                  <a:pt x="372156" y="572546"/>
                  <a:pt x="384989" y="585379"/>
                  <a:pt x="384989" y="602161"/>
                </a:cubicBezTo>
                <a:cubicBezTo>
                  <a:pt x="384989" y="618943"/>
                  <a:pt x="372156" y="631776"/>
                  <a:pt x="355374" y="631776"/>
                </a:cubicBezTo>
                <a:lnTo>
                  <a:pt x="157943" y="631776"/>
                </a:lnTo>
                <a:cubicBezTo>
                  <a:pt x="141162" y="631776"/>
                  <a:pt x="128329" y="618943"/>
                  <a:pt x="128329" y="602161"/>
                </a:cubicBezTo>
                <a:cubicBezTo>
                  <a:pt x="128329" y="585379"/>
                  <a:pt x="141162" y="572546"/>
                  <a:pt x="157943" y="572546"/>
                </a:cubicBezTo>
                <a:close/>
                <a:moveTo>
                  <a:pt x="257646" y="58242"/>
                </a:moveTo>
                <a:cubicBezTo>
                  <a:pt x="150047" y="59229"/>
                  <a:pt x="62190" y="146098"/>
                  <a:pt x="60216" y="253697"/>
                </a:cubicBezTo>
                <a:lnTo>
                  <a:pt x="60216" y="261594"/>
                </a:lnTo>
                <a:cubicBezTo>
                  <a:pt x="61203" y="285286"/>
                  <a:pt x="65152" y="308978"/>
                  <a:pt x="74036" y="330695"/>
                </a:cubicBezTo>
                <a:cubicBezTo>
                  <a:pt x="81933" y="350438"/>
                  <a:pt x="93779" y="369194"/>
                  <a:pt x="107599" y="384988"/>
                </a:cubicBezTo>
                <a:cubicBezTo>
                  <a:pt x="129317" y="412628"/>
                  <a:pt x="149059" y="442243"/>
                  <a:pt x="164854" y="473832"/>
                </a:cubicBezTo>
                <a:lnTo>
                  <a:pt x="256659" y="473832"/>
                </a:lnTo>
                <a:lnTo>
                  <a:pt x="349451" y="473832"/>
                </a:lnTo>
                <a:cubicBezTo>
                  <a:pt x="364258" y="442243"/>
                  <a:pt x="384001" y="412628"/>
                  <a:pt x="406705" y="384988"/>
                </a:cubicBezTo>
                <a:cubicBezTo>
                  <a:pt x="421513" y="369194"/>
                  <a:pt x="432371" y="350438"/>
                  <a:pt x="440268" y="330695"/>
                </a:cubicBezTo>
                <a:cubicBezTo>
                  <a:pt x="448166" y="308978"/>
                  <a:pt x="453101" y="285286"/>
                  <a:pt x="454089" y="261594"/>
                </a:cubicBezTo>
                <a:lnTo>
                  <a:pt x="455076" y="261594"/>
                </a:lnTo>
                <a:lnTo>
                  <a:pt x="455076" y="253697"/>
                </a:lnTo>
                <a:cubicBezTo>
                  <a:pt x="453101" y="145111"/>
                  <a:pt x="365245" y="59229"/>
                  <a:pt x="257646" y="58242"/>
                </a:cubicBezTo>
                <a:close/>
                <a:moveTo>
                  <a:pt x="256659" y="0"/>
                </a:moveTo>
                <a:cubicBezTo>
                  <a:pt x="396834" y="987"/>
                  <a:pt x="510356" y="113522"/>
                  <a:pt x="513317" y="253697"/>
                </a:cubicBezTo>
                <a:lnTo>
                  <a:pt x="513317" y="262582"/>
                </a:lnTo>
                <a:cubicBezTo>
                  <a:pt x="512330" y="293183"/>
                  <a:pt x="506407" y="322798"/>
                  <a:pt x="495549" y="351425"/>
                </a:cubicBezTo>
                <a:cubicBezTo>
                  <a:pt x="485677" y="378078"/>
                  <a:pt x="469883" y="402757"/>
                  <a:pt x="451127" y="424474"/>
                </a:cubicBezTo>
                <a:cubicBezTo>
                  <a:pt x="427436" y="450140"/>
                  <a:pt x="401770" y="500485"/>
                  <a:pt x="390911" y="522202"/>
                </a:cubicBezTo>
                <a:cubicBezTo>
                  <a:pt x="387950" y="529112"/>
                  <a:pt x="381039" y="533060"/>
                  <a:pt x="373142" y="533060"/>
                </a:cubicBezTo>
                <a:lnTo>
                  <a:pt x="140175" y="533060"/>
                </a:lnTo>
                <a:cubicBezTo>
                  <a:pt x="132278" y="533060"/>
                  <a:pt x="125368" y="529112"/>
                  <a:pt x="122406" y="522202"/>
                </a:cubicBezTo>
                <a:cubicBezTo>
                  <a:pt x="111548" y="500485"/>
                  <a:pt x="85882" y="450140"/>
                  <a:pt x="62190" y="424474"/>
                </a:cubicBezTo>
                <a:cubicBezTo>
                  <a:pt x="43435" y="402757"/>
                  <a:pt x="28627" y="378078"/>
                  <a:pt x="17769" y="351425"/>
                </a:cubicBezTo>
                <a:cubicBezTo>
                  <a:pt x="6910" y="322798"/>
                  <a:pt x="987" y="293183"/>
                  <a:pt x="0" y="262582"/>
                </a:cubicBezTo>
                <a:lnTo>
                  <a:pt x="0" y="253697"/>
                </a:lnTo>
                <a:cubicBezTo>
                  <a:pt x="2961" y="113522"/>
                  <a:pt x="116484" y="987"/>
                  <a:pt x="256659" y="0"/>
                </a:cubicBezTo>
                <a:close/>
              </a:path>
            </a:pathLst>
          </a:custGeom>
          <a:solidFill>
            <a:srgbClr val="1C2E4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66;p7"/>
          <p:cNvSpPr/>
          <p:nvPr/>
        </p:nvSpPr>
        <p:spPr>
          <a:xfrm>
            <a:off x="4306605" y="3659936"/>
            <a:ext cx="498446" cy="498446"/>
          </a:xfrm>
          <a:custGeom>
            <a:avLst/>
            <a:gdLst/>
            <a:ahLst/>
            <a:cxnLst/>
            <a:rect l="l" t="t" r="r" b="b"/>
            <a:pathLst>
              <a:path w="664595" h="664595" extrusionOk="0">
                <a:moveTo>
                  <a:pt x="319679" y="143014"/>
                </a:moveTo>
                <a:cubicBezTo>
                  <a:pt x="354171" y="143014"/>
                  <a:pt x="386139" y="151427"/>
                  <a:pt x="414742" y="166569"/>
                </a:cubicBezTo>
                <a:lnTo>
                  <a:pt x="376885" y="204426"/>
                </a:lnTo>
                <a:cubicBezTo>
                  <a:pt x="359218" y="197696"/>
                  <a:pt x="339869" y="193490"/>
                  <a:pt x="319679" y="193490"/>
                </a:cubicBezTo>
                <a:cubicBezTo>
                  <a:pt x="236395" y="193490"/>
                  <a:pt x="168252" y="261633"/>
                  <a:pt x="168252" y="344917"/>
                </a:cubicBezTo>
                <a:cubicBezTo>
                  <a:pt x="168252" y="428202"/>
                  <a:pt x="236395" y="496344"/>
                  <a:pt x="319679" y="496344"/>
                </a:cubicBezTo>
                <a:cubicBezTo>
                  <a:pt x="402964" y="496344"/>
                  <a:pt x="471106" y="428202"/>
                  <a:pt x="471106" y="344917"/>
                </a:cubicBezTo>
                <a:cubicBezTo>
                  <a:pt x="471106" y="324727"/>
                  <a:pt x="467741" y="305378"/>
                  <a:pt x="460170" y="287712"/>
                </a:cubicBezTo>
                <a:lnTo>
                  <a:pt x="498026" y="249855"/>
                </a:lnTo>
                <a:cubicBezTo>
                  <a:pt x="513169" y="278458"/>
                  <a:pt x="521582" y="310426"/>
                  <a:pt x="521582" y="344917"/>
                </a:cubicBezTo>
                <a:cubicBezTo>
                  <a:pt x="521582" y="455964"/>
                  <a:pt x="430726" y="546820"/>
                  <a:pt x="319679" y="546820"/>
                </a:cubicBezTo>
                <a:cubicBezTo>
                  <a:pt x="208632" y="546820"/>
                  <a:pt x="117776" y="455964"/>
                  <a:pt x="117776" y="344917"/>
                </a:cubicBezTo>
                <a:cubicBezTo>
                  <a:pt x="117776" y="233870"/>
                  <a:pt x="208632" y="143014"/>
                  <a:pt x="319679" y="143014"/>
                </a:cubicBezTo>
                <a:close/>
                <a:moveTo>
                  <a:pt x="319679" y="25238"/>
                </a:moveTo>
                <a:cubicBezTo>
                  <a:pt x="374360" y="25238"/>
                  <a:pt x="424836" y="38698"/>
                  <a:pt x="470264" y="62253"/>
                </a:cubicBezTo>
                <a:lnTo>
                  <a:pt x="464375" y="68142"/>
                </a:lnTo>
                <a:lnTo>
                  <a:pt x="452598" y="79920"/>
                </a:lnTo>
                <a:lnTo>
                  <a:pt x="455121" y="96745"/>
                </a:lnTo>
                <a:lnTo>
                  <a:pt x="456804" y="113570"/>
                </a:lnTo>
                <a:cubicBezTo>
                  <a:pt x="416423" y="89174"/>
                  <a:pt x="369313" y="75714"/>
                  <a:pt x="319679" y="75714"/>
                </a:cubicBezTo>
                <a:cubicBezTo>
                  <a:pt x="171617" y="75714"/>
                  <a:pt x="50476" y="196855"/>
                  <a:pt x="50476" y="344917"/>
                </a:cubicBezTo>
                <a:cubicBezTo>
                  <a:pt x="50476" y="492978"/>
                  <a:pt x="171617" y="614120"/>
                  <a:pt x="319679" y="614120"/>
                </a:cubicBezTo>
                <a:cubicBezTo>
                  <a:pt x="467740" y="614120"/>
                  <a:pt x="588882" y="492978"/>
                  <a:pt x="588882" y="344917"/>
                </a:cubicBezTo>
                <a:cubicBezTo>
                  <a:pt x="588882" y="294441"/>
                  <a:pt x="574580" y="248172"/>
                  <a:pt x="551025" y="207791"/>
                </a:cubicBezTo>
                <a:lnTo>
                  <a:pt x="568691" y="210315"/>
                </a:lnTo>
                <a:lnTo>
                  <a:pt x="584675" y="211998"/>
                </a:lnTo>
                <a:lnTo>
                  <a:pt x="595612" y="200220"/>
                </a:lnTo>
                <a:lnTo>
                  <a:pt x="601500" y="195172"/>
                </a:lnTo>
                <a:cubicBezTo>
                  <a:pt x="625897" y="239759"/>
                  <a:pt x="639357" y="290235"/>
                  <a:pt x="639357" y="344917"/>
                </a:cubicBezTo>
                <a:cubicBezTo>
                  <a:pt x="639357" y="521581"/>
                  <a:pt x="496343" y="664595"/>
                  <a:pt x="319679" y="664595"/>
                </a:cubicBezTo>
                <a:cubicBezTo>
                  <a:pt x="143014" y="664595"/>
                  <a:pt x="0" y="521581"/>
                  <a:pt x="0" y="344917"/>
                </a:cubicBezTo>
                <a:cubicBezTo>
                  <a:pt x="0" y="168252"/>
                  <a:pt x="143014" y="25238"/>
                  <a:pt x="319679" y="25238"/>
                </a:cubicBezTo>
                <a:close/>
                <a:moveTo>
                  <a:pt x="580469" y="0"/>
                </a:moveTo>
                <a:lnTo>
                  <a:pt x="588881" y="75713"/>
                </a:lnTo>
                <a:lnTo>
                  <a:pt x="664595" y="84126"/>
                </a:lnTo>
                <a:lnTo>
                  <a:pt x="572056" y="176664"/>
                </a:lnTo>
                <a:lnTo>
                  <a:pt x="528311" y="171617"/>
                </a:lnTo>
                <a:lnTo>
                  <a:pt x="393709" y="306218"/>
                </a:lnTo>
                <a:cubicBezTo>
                  <a:pt x="399598" y="317996"/>
                  <a:pt x="402963" y="330615"/>
                  <a:pt x="402963" y="344916"/>
                </a:cubicBezTo>
                <a:cubicBezTo>
                  <a:pt x="402963" y="391186"/>
                  <a:pt x="365106" y="429042"/>
                  <a:pt x="318837" y="429042"/>
                </a:cubicBezTo>
                <a:cubicBezTo>
                  <a:pt x="272568" y="429042"/>
                  <a:pt x="234711" y="391186"/>
                  <a:pt x="234711" y="344916"/>
                </a:cubicBezTo>
                <a:cubicBezTo>
                  <a:pt x="234711" y="298647"/>
                  <a:pt x="272568" y="260790"/>
                  <a:pt x="318837" y="260790"/>
                </a:cubicBezTo>
                <a:cubicBezTo>
                  <a:pt x="333138" y="260790"/>
                  <a:pt x="346598" y="264997"/>
                  <a:pt x="358376" y="270886"/>
                </a:cubicBezTo>
                <a:lnTo>
                  <a:pt x="492978" y="136284"/>
                </a:lnTo>
                <a:lnTo>
                  <a:pt x="487930" y="92539"/>
                </a:lnTo>
                <a:close/>
              </a:path>
            </a:pathLst>
          </a:custGeom>
          <a:solidFill>
            <a:srgbClr val="1C2E4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68;p7"/>
          <p:cNvSpPr/>
          <p:nvPr/>
        </p:nvSpPr>
        <p:spPr>
          <a:xfrm>
            <a:off x="1581871" y="1153898"/>
            <a:ext cx="1066283" cy="3412409"/>
          </a:xfrm>
          <a:custGeom>
            <a:avLst/>
            <a:gdLst/>
            <a:ahLst/>
            <a:cxnLst/>
            <a:rect l="l" t="t" r="r" b="b"/>
            <a:pathLst>
              <a:path w="20821" h="21600" extrusionOk="0">
                <a:moveTo>
                  <a:pt x="1711" y="17568"/>
                </a:moveTo>
                <a:lnTo>
                  <a:pt x="1711" y="10963"/>
                </a:lnTo>
                <a:cubicBezTo>
                  <a:pt x="1711" y="10112"/>
                  <a:pt x="2087" y="9274"/>
                  <a:pt x="2811" y="8472"/>
                </a:cubicBezTo>
                <a:cubicBezTo>
                  <a:pt x="4530" y="6566"/>
                  <a:pt x="8987" y="5067"/>
                  <a:pt x="14660" y="4320"/>
                </a:cubicBezTo>
                <a:cubicBezTo>
                  <a:pt x="17068" y="4003"/>
                  <a:pt x="19652" y="3413"/>
                  <a:pt x="20608" y="2319"/>
                </a:cubicBezTo>
                <a:cubicBezTo>
                  <a:pt x="21600" y="1184"/>
                  <a:pt x="19000" y="33"/>
                  <a:pt x="15361" y="1"/>
                </a:cubicBezTo>
                <a:cubicBezTo>
                  <a:pt x="15263" y="1"/>
                  <a:pt x="15163" y="0"/>
                  <a:pt x="15060" y="0"/>
                </a:cubicBezTo>
                <a:cubicBezTo>
                  <a:pt x="14484" y="0"/>
                  <a:pt x="13911" y="0"/>
                  <a:pt x="13349" y="0"/>
                </a:cubicBezTo>
                <a:cubicBezTo>
                  <a:pt x="13451" y="0"/>
                  <a:pt x="13552" y="1"/>
                  <a:pt x="13650" y="1"/>
                </a:cubicBezTo>
                <a:cubicBezTo>
                  <a:pt x="17289" y="33"/>
                  <a:pt x="19891" y="1184"/>
                  <a:pt x="18897" y="2319"/>
                </a:cubicBezTo>
                <a:cubicBezTo>
                  <a:pt x="17941" y="3413"/>
                  <a:pt x="15357" y="4003"/>
                  <a:pt x="12949" y="4320"/>
                </a:cubicBezTo>
                <a:cubicBezTo>
                  <a:pt x="7276" y="5067"/>
                  <a:pt x="2819" y="6566"/>
                  <a:pt x="1100" y="8472"/>
                </a:cubicBezTo>
                <a:cubicBezTo>
                  <a:pt x="376" y="9274"/>
                  <a:pt x="0" y="10112"/>
                  <a:pt x="0" y="10963"/>
                </a:cubicBezTo>
                <a:lnTo>
                  <a:pt x="0" y="17568"/>
                </a:lnTo>
                <a:cubicBezTo>
                  <a:pt x="0" y="19795"/>
                  <a:pt x="5569" y="21600"/>
                  <a:pt x="12437" y="21600"/>
                </a:cubicBezTo>
                <a:lnTo>
                  <a:pt x="12437" y="21600"/>
                </a:lnTo>
                <a:cubicBezTo>
                  <a:pt x="12726" y="21600"/>
                  <a:pt x="13010" y="21595"/>
                  <a:pt x="13294" y="21589"/>
                </a:cubicBezTo>
                <a:cubicBezTo>
                  <a:pt x="6822" y="21447"/>
                  <a:pt x="1711" y="19702"/>
                  <a:pt x="1711" y="17568"/>
                </a:cubicBezTo>
                <a:close/>
              </a:path>
            </a:pathLst>
          </a:custGeom>
          <a:solidFill>
            <a:srgbClr val="0C6B90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69;p7"/>
          <p:cNvSpPr/>
          <p:nvPr/>
        </p:nvSpPr>
        <p:spPr>
          <a:xfrm>
            <a:off x="6010477" y="1145211"/>
            <a:ext cx="1066310" cy="3412406"/>
          </a:xfrm>
          <a:custGeom>
            <a:avLst/>
            <a:gdLst/>
            <a:ahLst/>
            <a:cxnLst/>
            <a:rect l="l" t="t" r="r" b="b"/>
            <a:pathLst>
              <a:path w="20820" h="21600" extrusionOk="0">
                <a:moveTo>
                  <a:pt x="1711" y="17568"/>
                </a:moveTo>
                <a:lnTo>
                  <a:pt x="1711" y="10963"/>
                </a:lnTo>
                <a:cubicBezTo>
                  <a:pt x="1711" y="10112"/>
                  <a:pt x="2087" y="9274"/>
                  <a:pt x="2811" y="8472"/>
                </a:cubicBezTo>
                <a:cubicBezTo>
                  <a:pt x="4530" y="6566"/>
                  <a:pt x="8986" y="5067"/>
                  <a:pt x="14658" y="4320"/>
                </a:cubicBezTo>
                <a:cubicBezTo>
                  <a:pt x="17066" y="4003"/>
                  <a:pt x="19650" y="3413"/>
                  <a:pt x="20607" y="2319"/>
                </a:cubicBezTo>
                <a:cubicBezTo>
                  <a:pt x="21600" y="1184"/>
                  <a:pt x="18998" y="33"/>
                  <a:pt x="15359" y="1"/>
                </a:cubicBezTo>
                <a:cubicBezTo>
                  <a:pt x="15261" y="1"/>
                  <a:pt x="15161" y="0"/>
                  <a:pt x="15059" y="0"/>
                </a:cubicBezTo>
                <a:cubicBezTo>
                  <a:pt x="14482" y="0"/>
                  <a:pt x="13910" y="0"/>
                  <a:pt x="13348" y="0"/>
                </a:cubicBezTo>
                <a:cubicBezTo>
                  <a:pt x="13450" y="0"/>
                  <a:pt x="13550" y="1"/>
                  <a:pt x="13648" y="1"/>
                </a:cubicBezTo>
                <a:cubicBezTo>
                  <a:pt x="17287" y="33"/>
                  <a:pt x="19889" y="1184"/>
                  <a:pt x="18896" y="2319"/>
                </a:cubicBezTo>
                <a:cubicBezTo>
                  <a:pt x="17939" y="3413"/>
                  <a:pt x="15355" y="4003"/>
                  <a:pt x="12947" y="4320"/>
                </a:cubicBezTo>
                <a:cubicBezTo>
                  <a:pt x="7275" y="5067"/>
                  <a:pt x="2819" y="6566"/>
                  <a:pt x="1100" y="8472"/>
                </a:cubicBezTo>
                <a:cubicBezTo>
                  <a:pt x="376" y="9274"/>
                  <a:pt x="0" y="10112"/>
                  <a:pt x="0" y="10963"/>
                </a:cubicBezTo>
                <a:lnTo>
                  <a:pt x="0" y="17568"/>
                </a:lnTo>
                <a:cubicBezTo>
                  <a:pt x="0" y="19795"/>
                  <a:pt x="5568" y="21600"/>
                  <a:pt x="12436" y="21600"/>
                </a:cubicBezTo>
                <a:lnTo>
                  <a:pt x="12436" y="21600"/>
                </a:lnTo>
                <a:cubicBezTo>
                  <a:pt x="12724" y="21600"/>
                  <a:pt x="13009" y="21595"/>
                  <a:pt x="13293" y="21589"/>
                </a:cubicBezTo>
                <a:cubicBezTo>
                  <a:pt x="6823" y="21447"/>
                  <a:pt x="1711" y="19702"/>
                  <a:pt x="1711" y="17568"/>
                </a:cubicBezTo>
                <a:close/>
              </a:path>
            </a:pathLst>
          </a:custGeom>
          <a:solidFill>
            <a:srgbClr val="53622E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70;p7"/>
          <p:cNvSpPr/>
          <p:nvPr/>
        </p:nvSpPr>
        <p:spPr>
          <a:xfrm>
            <a:off x="3818365" y="1137508"/>
            <a:ext cx="1066310" cy="3412406"/>
          </a:xfrm>
          <a:custGeom>
            <a:avLst/>
            <a:gdLst/>
            <a:ahLst/>
            <a:cxnLst/>
            <a:rect l="l" t="t" r="r" b="b"/>
            <a:pathLst>
              <a:path w="20820" h="21600" extrusionOk="0">
                <a:moveTo>
                  <a:pt x="1711" y="17568"/>
                </a:moveTo>
                <a:lnTo>
                  <a:pt x="1711" y="10963"/>
                </a:lnTo>
                <a:cubicBezTo>
                  <a:pt x="1711" y="10112"/>
                  <a:pt x="2087" y="9274"/>
                  <a:pt x="2811" y="8472"/>
                </a:cubicBezTo>
                <a:cubicBezTo>
                  <a:pt x="4530" y="6566"/>
                  <a:pt x="8986" y="5067"/>
                  <a:pt x="14658" y="4320"/>
                </a:cubicBezTo>
                <a:cubicBezTo>
                  <a:pt x="17066" y="4003"/>
                  <a:pt x="19650" y="3413"/>
                  <a:pt x="20607" y="2319"/>
                </a:cubicBezTo>
                <a:cubicBezTo>
                  <a:pt x="21600" y="1184"/>
                  <a:pt x="18998" y="33"/>
                  <a:pt x="15359" y="1"/>
                </a:cubicBezTo>
                <a:cubicBezTo>
                  <a:pt x="15261" y="1"/>
                  <a:pt x="15161" y="0"/>
                  <a:pt x="15059" y="0"/>
                </a:cubicBezTo>
                <a:cubicBezTo>
                  <a:pt x="14482" y="0"/>
                  <a:pt x="13910" y="0"/>
                  <a:pt x="13348" y="0"/>
                </a:cubicBezTo>
                <a:cubicBezTo>
                  <a:pt x="13450" y="0"/>
                  <a:pt x="13550" y="1"/>
                  <a:pt x="13648" y="1"/>
                </a:cubicBezTo>
                <a:cubicBezTo>
                  <a:pt x="17287" y="33"/>
                  <a:pt x="19889" y="1184"/>
                  <a:pt x="18896" y="2319"/>
                </a:cubicBezTo>
                <a:cubicBezTo>
                  <a:pt x="17939" y="3413"/>
                  <a:pt x="15355" y="4003"/>
                  <a:pt x="12947" y="4320"/>
                </a:cubicBezTo>
                <a:cubicBezTo>
                  <a:pt x="7275" y="5067"/>
                  <a:pt x="2819" y="6566"/>
                  <a:pt x="1100" y="8472"/>
                </a:cubicBezTo>
                <a:cubicBezTo>
                  <a:pt x="376" y="9274"/>
                  <a:pt x="0" y="10112"/>
                  <a:pt x="0" y="10963"/>
                </a:cubicBezTo>
                <a:lnTo>
                  <a:pt x="0" y="17568"/>
                </a:lnTo>
                <a:cubicBezTo>
                  <a:pt x="0" y="19795"/>
                  <a:pt x="5568" y="21600"/>
                  <a:pt x="12436" y="21600"/>
                </a:cubicBezTo>
                <a:lnTo>
                  <a:pt x="12436" y="21600"/>
                </a:lnTo>
                <a:cubicBezTo>
                  <a:pt x="12724" y="21600"/>
                  <a:pt x="13009" y="21595"/>
                  <a:pt x="13293" y="21589"/>
                </a:cubicBezTo>
                <a:cubicBezTo>
                  <a:pt x="6823" y="21447"/>
                  <a:pt x="1711" y="19702"/>
                  <a:pt x="1711" y="17568"/>
                </a:cubicBezTo>
                <a:close/>
              </a:path>
            </a:pathLst>
          </a:custGeom>
          <a:solidFill>
            <a:srgbClr val="864A04"/>
          </a:solidFill>
          <a:ln>
            <a:noFill/>
          </a:ln>
        </p:spPr>
        <p:txBody>
          <a:bodyPr spcFirstLastPara="1" wrap="square" lIns="28575" tIns="28575" rIns="28575" bIns="28575" anchor="ctr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609;p35"/>
          <p:cNvGrpSpPr/>
          <p:nvPr/>
        </p:nvGrpSpPr>
        <p:grpSpPr>
          <a:xfrm>
            <a:off x="6454716" y="3648123"/>
            <a:ext cx="539057" cy="553965"/>
            <a:chOff x="2942" y="1185"/>
            <a:chExt cx="1788" cy="1942"/>
          </a:xfrm>
          <a:solidFill>
            <a:srgbClr val="1A2442"/>
          </a:solidFill>
        </p:grpSpPr>
        <p:sp>
          <p:nvSpPr>
            <p:cNvPr id="71" name="Google Shape;610;p35"/>
            <p:cNvSpPr/>
            <p:nvPr/>
          </p:nvSpPr>
          <p:spPr>
            <a:xfrm>
              <a:off x="3414" y="2132"/>
              <a:ext cx="526" cy="525"/>
            </a:xfrm>
            <a:custGeom>
              <a:avLst/>
              <a:gdLst/>
              <a:ahLst/>
              <a:cxnLst/>
              <a:rect l="l" t="t" r="r" b="b"/>
              <a:pathLst>
                <a:path w="1051" h="1049" extrusionOk="0">
                  <a:moveTo>
                    <a:pt x="526" y="193"/>
                  </a:moveTo>
                  <a:lnTo>
                    <a:pt x="476" y="196"/>
                  </a:lnTo>
                  <a:lnTo>
                    <a:pt x="430" y="207"/>
                  </a:lnTo>
                  <a:lnTo>
                    <a:pt x="385" y="224"/>
                  </a:lnTo>
                  <a:lnTo>
                    <a:pt x="345" y="246"/>
                  </a:lnTo>
                  <a:lnTo>
                    <a:pt x="308" y="274"/>
                  </a:lnTo>
                  <a:lnTo>
                    <a:pt x="275" y="306"/>
                  </a:lnTo>
                  <a:lnTo>
                    <a:pt x="246" y="344"/>
                  </a:lnTo>
                  <a:lnTo>
                    <a:pt x="224" y="384"/>
                  </a:lnTo>
                  <a:lnTo>
                    <a:pt x="207" y="429"/>
                  </a:lnTo>
                  <a:lnTo>
                    <a:pt x="197" y="475"/>
                  </a:lnTo>
                  <a:lnTo>
                    <a:pt x="193" y="525"/>
                  </a:lnTo>
                  <a:lnTo>
                    <a:pt x="197" y="573"/>
                  </a:lnTo>
                  <a:lnTo>
                    <a:pt x="207" y="621"/>
                  </a:lnTo>
                  <a:lnTo>
                    <a:pt x="224" y="664"/>
                  </a:lnTo>
                  <a:lnTo>
                    <a:pt x="246" y="706"/>
                  </a:lnTo>
                  <a:lnTo>
                    <a:pt x="275" y="742"/>
                  </a:lnTo>
                  <a:lnTo>
                    <a:pt x="308" y="776"/>
                  </a:lnTo>
                  <a:lnTo>
                    <a:pt x="345" y="804"/>
                  </a:lnTo>
                  <a:lnTo>
                    <a:pt x="385" y="826"/>
                  </a:lnTo>
                  <a:lnTo>
                    <a:pt x="430" y="843"/>
                  </a:lnTo>
                  <a:lnTo>
                    <a:pt x="476" y="854"/>
                  </a:lnTo>
                  <a:lnTo>
                    <a:pt x="526" y="857"/>
                  </a:lnTo>
                  <a:lnTo>
                    <a:pt x="574" y="854"/>
                  </a:lnTo>
                  <a:lnTo>
                    <a:pt x="622" y="843"/>
                  </a:lnTo>
                  <a:lnTo>
                    <a:pt x="666" y="826"/>
                  </a:lnTo>
                  <a:lnTo>
                    <a:pt x="707" y="804"/>
                  </a:lnTo>
                  <a:lnTo>
                    <a:pt x="744" y="776"/>
                  </a:lnTo>
                  <a:lnTo>
                    <a:pt x="777" y="742"/>
                  </a:lnTo>
                  <a:lnTo>
                    <a:pt x="805" y="706"/>
                  </a:lnTo>
                  <a:lnTo>
                    <a:pt x="828" y="664"/>
                  </a:lnTo>
                  <a:lnTo>
                    <a:pt x="844" y="621"/>
                  </a:lnTo>
                  <a:lnTo>
                    <a:pt x="855" y="573"/>
                  </a:lnTo>
                  <a:lnTo>
                    <a:pt x="859" y="525"/>
                  </a:lnTo>
                  <a:lnTo>
                    <a:pt x="855" y="475"/>
                  </a:lnTo>
                  <a:lnTo>
                    <a:pt x="844" y="429"/>
                  </a:lnTo>
                  <a:lnTo>
                    <a:pt x="828" y="384"/>
                  </a:lnTo>
                  <a:lnTo>
                    <a:pt x="805" y="344"/>
                  </a:lnTo>
                  <a:lnTo>
                    <a:pt x="777" y="306"/>
                  </a:lnTo>
                  <a:lnTo>
                    <a:pt x="744" y="274"/>
                  </a:lnTo>
                  <a:lnTo>
                    <a:pt x="707" y="246"/>
                  </a:lnTo>
                  <a:lnTo>
                    <a:pt x="666" y="224"/>
                  </a:lnTo>
                  <a:lnTo>
                    <a:pt x="622" y="207"/>
                  </a:lnTo>
                  <a:lnTo>
                    <a:pt x="574" y="196"/>
                  </a:lnTo>
                  <a:lnTo>
                    <a:pt x="526" y="193"/>
                  </a:lnTo>
                  <a:close/>
                  <a:moveTo>
                    <a:pt x="526" y="0"/>
                  </a:moveTo>
                  <a:lnTo>
                    <a:pt x="587" y="4"/>
                  </a:lnTo>
                  <a:lnTo>
                    <a:pt x="645" y="14"/>
                  </a:lnTo>
                  <a:lnTo>
                    <a:pt x="702" y="31"/>
                  </a:lnTo>
                  <a:lnTo>
                    <a:pt x="757" y="53"/>
                  </a:lnTo>
                  <a:lnTo>
                    <a:pt x="807" y="82"/>
                  </a:lnTo>
                  <a:lnTo>
                    <a:pt x="854" y="116"/>
                  </a:lnTo>
                  <a:lnTo>
                    <a:pt x="897" y="154"/>
                  </a:lnTo>
                  <a:lnTo>
                    <a:pt x="936" y="198"/>
                  </a:lnTo>
                  <a:lnTo>
                    <a:pt x="969" y="244"/>
                  </a:lnTo>
                  <a:lnTo>
                    <a:pt x="997" y="295"/>
                  </a:lnTo>
                  <a:lnTo>
                    <a:pt x="1020" y="348"/>
                  </a:lnTo>
                  <a:lnTo>
                    <a:pt x="1038" y="404"/>
                  </a:lnTo>
                  <a:lnTo>
                    <a:pt x="1047" y="464"/>
                  </a:lnTo>
                  <a:lnTo>
                    <a:pt x="1051" y="525"/>
                  </a:lnTo>
                  <a:lnTo>
                    <a:pt x="1047" y="585"/>
                  </a:lnTo>
                  <a:lnTo>
                    <a:pt x="1038" y="644"/>
                  </a:lnTo>
                  <a:lnTo>
                    <a:pt x="1020" y="701"/>
                  </a:lnTo>
                  <a:lnTo>
                    <a:pt x="997" y="755"/>
                  </a:lnTo>
                  <a:lnTo>
                    <a:pt x="969" y="805"/>
                  </a:lnTo>
                  <a:lnTo>
                    <a:pt x="936" y="852"/>
                  </a:lnTo>
                  <a:lnTo>
                    <a:pt x="897" y="895"/>
                  </a:lnTo>
                  <a:lnTo>
                    <a:pt x="854" y="934"/>
                  </a:lnTo>
                  <a:lnTo>
                    <a:pt x="807" y="967"/>
                  </a:lnTo>
                  <a:lnTo>
                    <a:pt x="757" y="995"/>
                  </a:lnTo>
                  <a:lnTo>
                    <a:pt x="702" y="1018"/>
                  </a:lnTo>
                  <a:lnTo>
                    <a:pt x="645" y="1036"/>
                  </a:lnTo>
                  <a:lnTo>
                    <a:pt x="587" y="1045"/>
                  </a:lnTo>
                  <a:lnTo>
                    <a:pt x="526" y="1049"/>
                  </a:lnTo>
                  <a:lnTo>
                    <a:pt x="464" y="1045"/>
                  </a:lnTo>
                  <a:lnTo>
                    <a:pt x="405" y="1036"/>
                  </a:lnTo>
                  <a:lnTo>
                    <a:pt x="348" y="1018"/>
                  </a:lnTo>
                  <a:lnTo>
                    <a:pt x="295" y="995"/>
                  </a:lnTo>
                  <a:lnTo>
                    <a:pt x="244" y="967"/>
                  </a:lnTo>
                  <a:lnTo>
                    <a:pt x="198" y="934"/>
                  </a:lnTo>
                  <a:lnTo>
                    <a:pt x="154" y="895"/>
                  </a:lnTo>
                  <a:lnTo>
                    <a:pt x="116" y="852"/>
                  </a:lnTo>
                  <a:lnTo>
                    <a:pt x="83" y="805"/>
                  </a:lnTo>
                  <a:lnTo>
                    <a:pt x="54" y="755"/>
                  </a:lnTo>
                  <a:lnTo>
                    <a:pt x="31" y="701"/>
                  </a:lnTo>
                  <a:lnTo>
                    <a:pt x="14" y="644"/>
                  </a:lnTo>
                  <a:lnTo>
                    <a:pt x="3" y="585"/>
                  </a:lnTo>
                  <a:lnTo>
                    <a:pt x="0" y="525"/>
                  </a:lnTo>
                  <a:lnTo>
                    <a:pt x="3" y="464"/>
                  </a:lnTo>
                  <a:lnTo>
                    <a:pt x="14" y="404"/>
                  </a:lnTo>
                  <a:lnTo>
                    <a:pt x="31" y="348"/>
                  </a:lnTo>
                  <a:lnTo>
                    <a:pt x="54" y="295"/>
                  </a:lnTo>
                  <a:lnTo>
                    <a:pt x="83" y="244"/>
                  </a:lnTo>
                  <a:lnTo>
                    <a:pt x="116" y="198"/>
                  </a:lnTo>
                  <a:lnTo>
                    <a:pt x="154" y="154"/>
                  </a:lnTo>
                  <a:lnTo>
                    <a:pt x="198" y="116"/>
                  </a:lnTo>
                  <a:lnTo>
                    <a:pt x="244" y="82"/>
                  </a:lnTo>
                  <a:lnTo>
                    <a:pt x="295" y="53"/>
                  </a:lnTo>
                  <a:lnTo>
                    <a:pt x="348" y="31"/>
                  </a:lnTo>
                  <a:lnTo>
                    <a:pt x="405" y="14"/>
                  </a:lnTo>
                  <a:lnTo>
                    <a:pt x="464" y="4"/>
                  </a:lnTo>
                  <a:lnTo>
                    <a:pt x="5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611;p35"/>
            <p:cNvSpPr/>
            <p:nvPr/>
          </p:nvSpPr>
          <p:spPr>
            <a:xfrm>
              <a:off x="2942" y="1185"/>
              <a:ext cx="1788" cy="1942"/>
            </a:xfrm>
            <a:custGeom>
              <a:avLst/>
              <a:gdLst/>
              <a:ahLst/>
              <a:cxnLst/>
              <a:rect l="l" t="t" r="r" b="b"/>
              <a:pathLst>
                <a:path w="3576" h="3883" extrusionOk="0">
                  <a:moveTo>
                    <a:pt x="1369" y="1143"/>
                  </a:moveTo>
                  <a:lnTo>
                    <a:pt x="1369" y="1293"/>
                  </a:lnTo>
                  <a:lnTo>
                    <a:pt x="1367" y="1315"/>
                  </a:lnTo>
                  <a:lnTo>
                    <a:pt x="1360" y="1337"/>
                  </a:lnTo>
                  <a:lnTo>
                    <a:pt x="1347" y="1354"/>
                  </a:lnTo>
                  <a:lnTo>
                    <a:pt x="1331" y="1370"/>
                  </a:lnTo>
                  <a:lnTo>
                    <a:pt x="1312" y="1380"/>
                  </a:lnTo>
                  <a:lnTo>
                    <a:pt x="1290" y="1387"/>
                  </a:lnTo>
                  <a:lnTo>
                    <a:pt x="1214" y="1403"/>
                  </a:lnTo>
                  <a:lnTo>
                    <a:pt x="1141" y="1424"/>
                  </a:lnTo>
                  <a:lnTo>
                    <a:pt x="1068" y="1451"/>
                  </a:lnTo>
                  <a:lnTo>
                    <a:pt x="1000" y="1483"/>
                  </a:lnTo>
                  <a:lnTo>
                    <a:pt x="932" y="1520"/>
                  </a:lnTo>
                  <a:lnTo>
                    <a:pt x="867" y="1562"/>
                  </a:lnTo>
                  <a:lnTo>
                    <a:pt x="847" y="1573"/>
                  </a:lnTo>
                  <a:lnTo>
                    <a:pt x="825" y="1579"/>
                  </a:lnTo>
                  <a:lnTo>
                    <a:pt x="803" y="1580"/>
                  </a:lnTo>
                  <a:lnTo>
                    <a:pt x="782" y="1575"/>
                  </a:lnTo>
                  <a:lnTo>
                    <a:pt x="761" y="1566"/>
                  </a:lnTo>
                  <a:lnTo>
                    <a:pt x="744" y="1552"/>
                  </a:lnTo>
                  <a:lnTo>
                    <a:pt x="637" y="1447"/>
                  </a:lnTo>
                  <a:lnTo>
                    <a:pt x="496" y="1587"/>
                  </a:lnTo>
                  <a:lnTo>
                    <a:pt x="602" y="1694"/>
                  </a:lnTo>
                  <a:lnTo>
                    <a:pt x="616" y="1711"/>
                  </a:lnTo>
                  <a:lnTo>
                    <a:pt x="625" y="1731"/>
                  </a:lnTo>
                  <a:lnTo>
                    <a:pt x="630" y="1753"/>
                  </a:lnTo>
                  <a:lnTo>
                    <a:pt x="629" y="1775"/>
                  </a:lnTo>
                  <a:lnTo>
                    <a:pt x="623" y="1796"/>
                  </a:lnTo>
                  <a:lnTo>
                    <a:pt x="612" y="1816"/>
                  </a:lnTo>
                  <a:lnTo>
                    <a:pt x="570" y="1881"/>
                  </a:lnTo>
                  <a:lnTo>
                    <a:pt x="533" y="1948"/>
                  </a:lnTo>
                  <a:lnTo>
                    <a:pt x="501" y="2017"/>
                  </a:lnTo>
                  <a:lnTo>
                    <a:pt x="475" y="2089"/>
                  </a:lnTo>
                  <a:lnTo>
                    <a:pt x="453" y="2163"/>
                  </a:lnTo>
                  <a:lnTo>
                    <a:pt x="437" y="2238"/>
                  </a:lnTo>
                  <a:lnTo>
                    <a:pt x="431" y="2260"/>
                  </a:lnTo>
                  <a:lnTo>
                    <a:pt x="419" y="2280"/>
                  </a:lnTo>
                  <a:lnTo>
                    <a:pt x="404" y="2295"/>
                  </a:lnTo>
                  <a:lnTo>
                    <a:pt x="386" y="2308"/>
                  </a:lnTo>
                  <a:lnTo>
                    <a:pt x="365" y="2315"/>
                  </a:lnTo>
                  <a:lnTo>
                    <a:pt x="342" y="2318"/>
                  </a:lnTo>
                  <a:lnTo>
                    <a:pt x="193" y="2318"/>
                  </a:lnTo>
                  <a:lnTo>
                    <a:pt x="193" y="2517"/>
                  </a:lnTo>
                  <a:lnTo>
                    <a:pt x="342" y="2517"/>
                  </a:lnTo>
                  <a:lnTo>
                    <a:pt x="365" y="2521"/>
                  </a:lnTo>
                  <a:lnTo>
                    <a:pt x="386" y="2528"/>
                  </a:lnTo>
                  <a:lnTo>
                    <a:pt x="404" y="2540"/>
                  </a:lnTo>
                  <a:lnTo>
                    <a:pt x="419" y="2556"/>
                  </a:lnTo>
                  <a:lnTo>
                    <a:pt x="431" y="2575"/>
                  </a:lnTo>
                  <a:lnTo>
                    <a:pt x="437" y="2598"/>
                  </a:lnTo>
                  <a:lnTo>
                    <a:pt x="453" y="2673"/>
                  </a:lnTo>
                  <a:lnTo>
                    <a:pt x="475" y="2747"/>
                  </a:lnTo>
                  <a:lnTo>
                    <a:pt x="501" y="2817"/>
                  </a:lnTo>
                  <a:lnTo>
                    <a:pt x="533" y="2887"/>
                  </a:lnTo>
                  <a:lnTo>
                    <a:pt x="570" y="2955"/>
                  </a:lnTo>
                  <a:lnTo>
                    <a:pt x="612" y="3020"/>
                  </a:lnTo>
                  <a:lnTo>
                    <a:pt x="623" y="3040"/>
                  </a:lnTo>
                  <a:lnTo>
                    <a:pt x="629" y="3061"/>
                  </a:lnTo>
                  <a:lnTo>
                    <a:pt x="630" y="3083"/>
                  </a:lnTo>
                  <a:lnTo>
                    <a:pt x="625" y="3105"/>
                  </a:lnTo>
                  <a:lnTo>
                    <a:pt x="616" y="3125"/>
                  </a:lnTo>
                  <a:lnTo>
                    <a:pt x="602" y="3142"/>
                  </a:lnTo>
                  <a:lnTo>
                    <a:pt x="496" y="3249"/>
                  </a:lnTo>
                  <a:lnTo>
                    <a:pt x="637" y="3389"/>
                  </a:lnTo>
                  <a:lnTo>
                    <a:pt x="744" y="3284"/>
                  </a:lnTo>
                  <a:lnTo>
                    <a:pt x="761" y="3270"/>
                  </a:lnTo>
                  <a:lnTo>
                    <a:pt x="782" y="3261"/>
                  </a:lnTo>
                  <a:lnTo>
                    <a:pt x="803" y="3256"/>
                  </a:lnTo>
                  <a:lnTo>
                    <a:pt x="825" y="3257"/>
                  </a:lnTo>
                  <a:lnTo>
                    <a:pt x="847" y="3262"/>
                  </a:lnTo>
                  <a:lnTo>
                    <a:pt x="867" y="3274"/>
                  </a:lnTo>
                  <a:lnTo>
                    <a:pt x="932" y="3315"/>
                  </a:lnTo>
                  <a:lnTo>
                    <a:pt x="998" y="3353"/>
                  </a:lnTo>
                  <a:lnTo>
                    <a:pt x="1068" y="3385"/>
                  </a:lnTo>
                  <a:lnTo>
                    <a:pt x="1141" y="3411"/>
                  </a:lnTo>
                  <a:lnTo>
                    <a:pt x="1214" y="3432"/>
                  </a:lnTo>
                  <a:lnTo>
                    <a:pt x="1290" y="3449"/>
                  </a:lnTo>
                  <a:lnTo>
                    <a:pt x="1312" y="3454"/>
                  </a:lnTo>
                  <a:lnTo>
                    <a:pt x="1331" y="3466"/>
                  </a:lnTo>
                  <a:lnTo>
                    <a:pt x="1347" y="3480"/>
                  </a:lnTo>
                  <a:lnTo>
                    <a:pt x="1360" y="3499"/>
                  </a:lnTo>
                  <a:lnTo>
                    <a:pt x="1367" y="3519"/>
                  </a:lnTo>
                  <a:lnTo>
                    <a:pt x="1369" y="3543"/>
                  </a:lnTo>
                  <a:lnTo>
                    <a:pt x="1369" y="3692"/>
                  </a:lnTo>
                  <a:lnTo>
                    <a:pt x="1569" y="3692"/>
                  </a:lnTo>
                  <a:lnTo>
                    <a:pt x="1569" y="3543"/>
                  </a:lnTo>
                  <a:lnTo>
                    <a:pt x="1573" y="3519"/>
                  </a:lnTo>
                  <a:lnTo>
                    <a:pt x="1580" y="3499"/>
                  </a:lnTo>
                  <a:lnTo>
                    <a:pt x="1592" y="3480"/>
                  </a:lnTo>
                  <a:lnTo>
                    <a:pt x="1608" y="3466"/>
                  </a:lnTo>
                  <a:lnTo>
                    <a:pt x="1627" y="3454"/>
                  </a:lnTo>
                  <a:lnTo>
                    <a:pt x="1650" y="3449"/>
                  </a:lnTo>
                  <a:lnTo>
                    <a:pt x="1726" y="3432"/>
                  </a:lnTo>
                  <a:lnTo>
                    <a:pt x="1799" y="3411"/>
                  </a:lnTo>
                  <a:lnTo>
                    <a:pt x="1871" y="3385"/>
                  </a:lnTo>
                  <a:lnTo>
                    <a:pt x="1940" y="3353"/>
                  </a:lnTo>
                  <a:lnTo>
                    <a:pt x="2008" y="3315"/>
                  </a:lnTo>
                  <a:lnTo>
                    <a:pt x="2073" y="3274"/>
                  </a:lnTo>
                  <a:lnTo>
                    <a:pt x="2093" y="3262"/>
                  </a:lnTo>
                  <a:lnTo>
                    <a:pt x="2114" y="3257"/>
                  </a:lnTo>
                  <a:lnTo>
                    <a:pt x="2137" y="3256"/>
                  </a:lnTo>
                  <a:lnTo>
                    <a:pt x="2158" y="3261"/>
                  </a:lnTo>
                  <a:lnTo>
                    <a:pt x="2178" y="3270"/>
                  </a:lnTo>
                  <a:lnTo>
                    <a:pt x="2196" y="3284"/>
                  </a:lnTo>
                  <a:lnTo>
                    <a:pt x="2303" y="3389"/>
                  </a:lnTo>
                  <a:lnTo>
                    <a:pt x="2444" y="3249"/>
                  </a:lnTo>
                  <a:lnTo>
                    <a:pt x="2338" y="3142"/>
                  </a:lnTo>
                  <a:lnTo>
                    <a:pt x="2324" y="3125"/>
                  </a:lnTo>
                  <a:lnTo>
                    <a:pt x="2314" y="3105"/>
                  </a:lnTo>
                  <a:lnTo>
                    <a:pt x="2310" y="3083"/>
                  </a:lnTo>
                  <a:lnTo>
                    <a:pt x="2311" y="3061"/>
                  </a:lnTo>
                  <a:lnTo>
                    <a:pt x="2317" y="3040"/>
                  </a:lnTo>
                  <a:lnTo>
                    <a:pt x="2327" y="3020"/>
                  </a:lnTo>
                  <a:lnTo>
                    <a:pt x="2369" y="2955"/>
                  </a:lnTo>
                  <a:lnTo>
                    <a:pt x="2407" y="2887"/>
                  </a:lnTo>
                  <a:lnTo>
                    <a:pt x="2439" y="2817"/>
                  </a:lnTo>
                  <a:lnTo>
                    <a:pt x="2465" y="2747"/>
                  </a:lnTo>
                  <a:lnTo>
                    <a:pt x="2486" y="2673"/>
                  </a:lnTo>
                  <a:lnTo>
                    <a:pt x="2503" y="2598"/>
                  </a:lnTo>
                  <a:lnTo>
                    <a:pt x="2509" y="2575"/>
                  </a:lnTo>
                  <a:lnTo>
                    <a:pt x="2521" y="2556"/>
                  </a:lnTo>
                  <a:lnTo>
                    <a:pt x="2535" y="2540"/>
                  </a:lnTo>
                  <a:lnTo>
                    <a:pt x="2554" y="2528"/>
                  </a:lnTo>
                  <a:lnTo>
                    <a:pt x="2575" y="2521"/>
                  </a:lnTo>
                  <a:lnTo>
                    <a:pt x="2598" y="2517"/>
                  </a:lnTo>
                  <a:lnTo>
                    <a:pt x="2747" y="2517"/>
                  </a:lnTo>
                  <a:lnTo>
                    <a:pt x="2747" y="2318"/>
                  </a:lnTo>
                  <a:lnTo>
                    <a:pt x="2598" y="2318"/>
                  </a:lnTo>
                  <a:lnTo>
                    <a:pt x="2575" y="2315"/>
                  </a:lnTo>
                  <a:lnTo>
                    <a:pt x="2554" y="2308"/>
                  </a:lnTo>
                  <a:lnTo>
                    <a:pt x="2535" y="2295"/>
                  </a:lnTo>
                  <a:lnTo>
                    <a:pt x="2521" y="2280"/>
                  </a:lnTo>
                  <a:lnTo>
                    <a:pt x="2509" y="2260"/>
                  </a:lnTo>
                  <a:lnTo>
                    <a:pt x="2503" y="2238"/>
                  </a:lnTo>
                  <a:lnTo>
                    <a:pt x="2490" y="2175"/>
                  </a:lnTo>
                  <a:lnTo>
                    <a:pt x="2472" y="2112"/>
                  </a:lnTo>
                  <a:lnTo>
                    <a:pt x="2208" y="2302"/>
                  </a:lnTo>
                  <a:lnTo>
                    <a:pt x="2190" y="2313"/>
                  </a:lnTo>
                  <a:lnTo>
                    <a:pt x="2171" y="2319"/>
                  </a:lnTo>
                  <a:lnTo>
                    <a:pt x="2151" y="2321"/>
                  </a:lnTo>
                  <a:lnTo>
                    <a:pt x="2128" y="2318"/>
                  </a:lnTo>
                  <a:lnTo>
                    <a:pt x="2107" y="2310"/>
                  </a:lnTo>
                  <a:lnTo>
                    <a:pt x="2089" y="2299"/>
                  </a:lnTo>
                  <a:lnTo>
                    <a:pt x="2075" y="2283"/>
                  </a:lnTo>
                  <a:lnTo>
                    <a:pt x="2064" y="2266"/>
                  </a:lnTo>
                  <a:lnTo>
                    <a:pt x="2057" y="2245"/>
                  </a:lnTo>
                  <a:lnTo>
                    <a:pt x="2055" y="2224"/>
                  </a:lnTo>
                  <a:lnTo>
                    <a:pt x="2055" y="1864"/>
                  </a:lnTo>
                  <a:lnTo>
                    <a:pt x="1958" y="1864"/>
                  </a:lnTo>
                  <a:lnTo>
                    <a:pt x="1905" y="1860"/>
                  </a:lnTo>
                  <a:lnTo>
                    <a:pt x="1851" y="1851"/>
                  </a:lnTo>
                  <a:lnTo>
                    <a:pt x="1802" y="1835"/>
                  </a:lnTo>
                  <a:lnTo>
                    <a:pt x="1755" y="1813"/>
                  </a:lnTo>
                  <a:lnTo>
                    <a:pt x="1711" y="1787"/>
                  </a:lnTo>
                  <a:lnTo>
                    <a:pt x="1671" y="1755"/>
                  </a:lnTo>
                  <a:lnTo>
                    <a:pt x="1634" y="1718"/>
                  </a:lnTo>
                  <a:lnTo>
                    <a:pt x="1603" y="1678"/>
                  </a:lnTo>
                  <a:lnTo>
                    <a:pt x="1576" y="1634"/>
                  </a:lnTo>
                  <a:lnTo>
                    <a:pt x="1554" y="1587"/>
                  </a:lnTo>
                  <a:lnTo>
                    <a:pt x="1539" y="1538"/>
                  </a:lnTo>
                  <a:lnTo>
                    <a:pt x="1529" y="1486"/>
                  </a:lnTo>
                  <a:lnTo>
                    <a:pt x="1526" y="1431"/>
                  </a:lnTo>
                  <a:lnTo>
                    <a:pt x="1526" y="1143"/>
                  </a:lnTo>
                  <a:lnTo>
                    <a:pt x="1369" y="1143"/>
                  </a:lnTo>
                  <a:close/>
                  <a:moveTo>
                    <a:pt x="1958" y="191"/>
                  </a:moveTo>
                  <a:lnTo>
                    <a:pt x="1919" y="195"/>
                  </a:lnTo>
                  <a:lnTo>
                    <a:pt x="1882" y="204"/>
                  </a:lnTo>
                  <a:lnTo>
                    <a:pt x="1848" y="219"/>
                  </a:lnTo>
                  <a:lnTo>
                    <a:pt x="1816" y="239"/>
                  </a:lnTo>
                  <a:lnTo>
                    <a:pt x="1788" y="262"/>
                  </a:lnTo>
                  <a:lnTo>
                    <a:pt x="1764" y="291"/>
                  </a:lnTo>
                  <a:lnTo>
                    <a:pt x="1745" y="323"/>
                  </a:lnTo>
                  <a:lnTo>
                    <a:pt x="1729" y="357"/>
                  </a:lnTo>
                  <a:lnTo>
                    <a:pt x="1721" y="394"/>
                  </a:lnTo>
                  <a:lnTo>
                    <a:pt x="1717" y="433"/>
                  </a:lnTo>
                  <a:lnTo>
                    <a:pt x="1717" y="1431"/>
                  </a:lnTo>
                  <a:lnTo>
                    <a:pt x="1721" y="1470"/>
                  </a:lnTo>
                  <a:lnTo>
                    <a:pt x="1729" y="1508"/>
                  </a:lnTo>
                  <a:lnTo>
                    <a:pt x="1745" y="1542"/>
                  </a:lnTo>
                  <a:lnTo>
                    <a:pt x="1764" y="1574"/>
                  </a:lnTo>
                  <a:lnTo>
                    <a:pt x="1788" y="1601"/>
                  </a:lnTo>
                  <a:lnTo>
                    <a:pt x="1816" y="1626"/>
                  </a:lnTo>
                  <a:lnTo>
                    <a:pt x="1848" y="1645"/>
                  </a:lnTo>
                  <a:lnTo>
                    <a:pt x="1882" y="1660"/>
                  </a:lnTo>
                  <a:lnTo>
                    <a:pt x="1919" y="1669"/>
                  </a:lnTo>
                  <a:lnTo>
                    <a:pt x="1958" y="1672"/>
                  </a:lnTo>
                  <a:lnTo>
                    <a:pt x="2151" y="1672"/>
                  </a:lnTo>
                  <a:lnTo>
                    <a:pt x="2177" y="1676"/>
                  </a:lnTo>
                  <a:lnTo>
                    <a:pt x="2200" y="1685"/>
                  </a:lnTo>
                  <a:lnTo>
                    <a:pt x="2220" y="1701"/>
                  </a:lnTo>
                  <a:lnTo>
                    <a:pt x="2234" y="1720"/>
                  </a:lnTo>
                  <a:lnTo>
                    <a:pt x="2243" y="1743"/>
                  </a:lnTo>
                  <a:lnTo>
                    <a:pt x="2247" y="1768"/>
                  </a:lnTo>
                  <a:lnTo>
                    <a:pt x="2247" y="2037"/>
                  </a:lnTo>
                  <a:lnTo>
                    <a:pt x="2730" y="1690"/>
                  </a:lnTo>
                  <a:lnTo>
                    <a:pt x="2748" y="1681"/>
                  </a:lnTo>
                  <a:lnTo>
                    <a:pt x="2767" y="1675"/>
                  </a:lnTo>
                  <a:lnTo>
                    <a:pt x="2787" y="1672"/>
                  </a:lnTo>
                  <a:lnTo>
                    <a:pt x="3142" y="1672"/>
                  </a:lnTo>
                  <a:lnTo>
                    <a:pt x="3182" y="1669"/>
                  </a:lnTo>
                  <a:lnTo>
                    <a:pt x="3218" y="1660"/>
                  </a:lnTo>
                  <a:lnTo>
                    <a:pt x="3254" y="1645"/>
                  </a:lnTo>
                  <a:lnTo>
                    <a:pt x="3285" y="1626"/>
                  </a:lnTo>
                  <a:lnTo>
                    <a:pt x="3313" y="1601"/>
                  </a:lnTo>
                  <a:lnTo>
                    <a:pt x="3337" y="1574"/>
                  </a:lnTo>
                  <a:lnTo>
                    <a:pt x="3357" y="1542"/>
                  </a:lnTo>
                  <a:lnTo>
                    <a:pt x="3371" y="1508"/>
                  </a:lnTo>
                  <a:lnTo>
                    <a:pt x="3381" y="1470"/>
                  </a:lnTo>
                  <a:lnTo>
                    <a:pt x="3384" y="1431"/>
                  </a:lnTo>
                  <a:lnTo>
                    <a:pt x="3384" y="433"/>
                  </a:lnTo>
                  <a:lnTo>
                    <a:pt x="3381" y="394"/>
                  </a:lnTo>
                  <a:lnTo>
                    <a:pt x="3371" y="357"/>
                  </a:lnTo>
                  <a:lnTo>
                    <a:pt x="3357" y="323"/>
                  </a:lnTo>
                  <a:lnTo>
                    <a:pt x="3337" y="291"/>
                  </a:lnTo>
                  <a:lnTo>
                    <a:pt x="3313" y="262"/>
                  </a:lnTo>
                  <a:lnTo>
                    <a:pt x="3285" y="239"/>
                  </a:lnTo>
                  <a:lnTo>
                    <a:pt x="3254" y="219"/>
                  </a:lnTo>
                  <a:lnTo>
                    <a:pt x="3218" y="204"/>
                  </a:lnTo>
                  <a:lnTo>
                    <a:pt x="3182" y="195"/>
                  </a:lnTo>
                  <a:lnTo>
                    <a:pt x="3142" y="191"/>
                  </a:lnTo>
                  <a:lnTo>
                    <a:pt x="1958" y="191"/>
                  </a:lnTo>
                  <a:close/>
                  <a:moveTo>
                    <a:pt x="1958" y="0"/>
                  </a:moveTo>
                  <a:lnTo>
                    <a:pt x="3142" y="0"/>
                  </a:lnTo>
                  <a:lnTo>
                    <a:pt x="3197" y="4"/>
                  </a:lnTo>
                  <a:lnTo>
                    <a:pt x="3249" y="13"/>
                  </a:lnTo>
                  <a:lnTo>
                    <a:pt x="3299" y="30"/>
                  </a:lnTo>
                  <a:lnTo>
                    <a:pt x="3346" y="51"/>
                  </a:lnTo>
                  <a:lnTo>
                    <a:pt x="3390" y="78"/>
                  </a:lnTo>
                  <a:lnTo>
                    <a:pt x="3430" y="110"/>
                  </a:lnTo>
                  <a:lnTo>
                    <a:pt x="3467" y="145"/>
                  </a:lnTo>
                  <a:lnTo>
                    <a:pt x="3498" y="186"/>
                  </a:lnTo>
                  <a:lnTo>
                    <a:pt x="3525" y="229"/>
                  </a:lnTo>
                  <a:lnTo>
                    <a:pt x="3546" y="277"/>
                  </a:lnTo>
                  <a:lnTo>
                    <a:pt x="3563" y="326"/>
                  </a:lnTo>
                  <a:lnTo>
                    <a:pt x="3572" y="378"/>
                  </a:lnTo>
                  <a:lnTo>
                    <a:pt x="3576" y="433"/>
                  </a:lnTo>
                  <a:lnTo>
                    <a:pt x="3576" y="1431"/>
                  </a:lnTo>
                  <a:lnTo>
                    <a:pt x="3572" y="1486"/>
                  </a:lnTo>
                  <a:lnTo>
                    <a:pt x="3563" y="1538"/>
                  </a:lnTo>
                  <a:lnTo>
                    <a:pt x="3546" y="1587"/>
                  </a:lnTo>
                  <a:lnTo>
                    <a:pt x="3525" y="1634"/>
                  </a:lnTo>
                  <a:lnTo>
                    <a:pt x="3498" y="1678"/>
                  </a:lnTo>
                  <a:lnTo>
                    <a:pt x="3467" y="1718"/>
                  </a:lnTo>
                  <a:lnTo>
                    <a:pt x="3430" y="1755"/>
                  </a:lnTo>
                  <a:lnTo>
                    <a:pt x="3390" y="1787"/>
                  </a:lnTo>
                  <a:lnTo>
                    <a:pt x="3346" y="1813"/>
                  </a:lnTo>
                  <a:lnTo>
                    <a:pt x="3299" y="1835"/>
                  </a:lnTo>
                  <a:lnTo>
                    <a:pt x="3249" y="1851"/>
                  </a:lnTo>
                  <a:lnTo>
                    <a:pt x="3197" y="1860"/>
                  </a:lnTo>
                  <a:lnTo>
                    <a:pt x="3142" y="1864"/>
                  </a:lnTo>
                  <a:lnTo>
                    <a:pt x="2818" y="1864"/>
                  </a:lnTo>
                  <a:lnTo>
                    <a:pt x="2635" y="1995"/>
                  </a:lnTo>
                  <a:lnTo>
                    <a:pt x="2657" y="2060"/>
                  </a:lnTo>
                  <a:lnTo>
                    <a:pt x="2676" y="2126"/>
                  </a:lnTo>
                  <a:lnTo>
                    <a:pt x="2843" y="2126"/>
                  </a:lnTo>
                  <a:lnTo>
                    <a:pt x="2869" y="2130"/>
                  </a:lnTo>
                  <a:lnTo>
                    <a:pt x="2891" y="2139"/>
                  </a:lnTo>
                  <a:lnTo>
                    <a:pt x="2911" y="2154"/>
                  </a:lnTo>
                  <a:lnTo>
                    <a:pt x="2926" y="2173"/>
                  </a:lnTo>
                  <a:lnTo>
                    <a:pt x="2936" y="2197"/>
                  </a:lnTo>
                  <a:lnTo>
                    <a:pt x="2940" y="2222"/>
                  </a:lnTo>
                  <a:lnTo>
                    <a:pt x="2940" y="2613"/>
                  </a:lnTo>
                  <a:lnTo>
                    <a:pt x="2936" y="2639"/>
                  </a:lnTo>
                  <a:lnTo>
                    <a:pt x="2926" y="2661"/>
                  </a:lnTo>
                  <a:lnTo>
                    <a:pt x="2911" y="2682"/>
                  </a:lnTo>
                  <a:lnTo>
                    <a:pt x="2891" y="2697"/>
                  </a:lnTo>
                  <a:lnTo>
                    <a:pt x="2869" y="2706"/>
                  </a:lnTo>
                  <a:lnTo>
                    <a:pt x="2843" y="2710"/>
                  </a:lnTo>
                  <a:lnTo>
                    <a:pt x="2676" y="2710"/>
                  </a:lnTo>
                  <a:lnTo>
                    <a:pt x="2656" y="2783"/>
                  </a:lnTo>
                  <a:lnTo>
                    <a:pt x="2631" y="2856"/>
                  </a:lnTo>
                  <a:lnTo>
                    <a:pt x="2601" y="2926"/>
                  </a:lnTo>
                  <a:lnTo>
                    <a:pt x="2567" y="2995"/>
                  </a:lnTo>
                  <a:lnTo>
                    <a:pt x="2529" y="3062"/>
                  </a:lnTo>
                  <a:lnTo>
                    <a:pt x="2647" y="3180"/>
                  </a:lnTo>
                  <a:lnTo>
                    <a:pt x="2659" y="3196"/>
                  </a:lnTo>
                  <a:lnTo>
                    <a:pt x="2669" y="3212"/>
                  </a:lnTo>
                  <a:lnTo>
                    <a:pt x="2673" y="3230"/>
                  </a:lnTo>
                  <a:lnTo>
                    <a:pt x="2676" y="3249"/>
                  </a:lnTo>
                  <a:lnTo>
                    <a:pt x="2672" y="3274"/>
                  </a:lnTo>
                  <a:lnTo>
                    <a:pt x="2663" y="3296"/>
                  </a:lnTo>
                  <a:lnTo>
                    <a:pt x="2647" y="3316"/>
                  </a:lnTo>
                  <a:lnTo>
                    <a:pt x="2370" y="3593"/>
                  </a:lnTo>
                  <a:lnTo>
                    <a:pt x="2352" y="3607"/>
                  </a:lnTo>
                  <a:lnTo>
                    <a:pt x="2333" y="3616"/>
                  </a:lnTo>
                  <a:lnTo>
                    <a:pt x="2313" y="3620"/>
                  </a:lnTo>
                  <a:lnTo>
                    <a:pt x="2292" y="3620"/>
                  </a:lnTo>
                  <a:lnTo>
                    <a:pt x="2271" y="3616"/>
                  </a:lnTo>
                  <a:lnTo>
                    <a:pt x="2252" y="3607"/>
                  </a:lnTo>
                  <a:lnTo>
                    <a:pt x="2234" y="3593"/>
                  </a:lnTo>
                  <a:lnTo>
                    <a:pt x="2115" y="3475"/>
                  </a:lnTo>
                  <a:lnTo>
                    <a:pt x="2049" y="3512"/>
                  </a:lnTo>
                  <a:lnTo>
                    <a:pt x="1979" y="3547"/>
                  </a:lnTo>
                  <a:lnTo>
                    <a:pt x="1909" y="3576"/>
                  </a:lnTo>
                  <a:lnTo>
                    <a:pt x="1836" y="3601"/>
                  </a:lnTo>
                  <a:lnTo>
                    <a:pt x="1762" y="3621"/>
                  </a:lnTo>
                  <a:lnTo>
                    <a:pt x="1762" y="3788"/>
                  </a:lnTo>
                  <a:lnTo>
                    <a:pt x="1759" y="3814"/>
                  </a:lnTo>
                  <a:lnTo>
                    <a:pt x="1749" y="3836"/>
                  </a:lnTo>
                  <a:lnTo>
                    <a:pt x="1734" y="3856"/>
                  </a:lnTo>
                  <a:lnTo>
                    <a:pt x="1714" y="3870"/>
                  </a:lnTo>
                  <a:lnTo>
                    <a:pt x="1691" y="3881"/>
                  </a:lnTo>
                  <a:lnTo>
                    <a:pt x="1666" y="3883"/>
                  </a:lnTo>
                  <a:lnTo>
                    <a:pt x="1273" y="3883"/>
                  </a:lnTo>
                  <a:lnTo>
                    <a:pt x="1248" y="3881"/>
                  </a:lnTo>
                  <a:lnTo>
                    <a:pt x="1225" y="3870"/>
                  </a:lnTo>
                  <a:lnTo>
                    <a:pt x="1206" y="3856"/>
                  </a:lnTo>
                  <a:lnTo>
                    <a:pt x="1190" y="3836"/>
                  </a:lnTo>
                  <a:lnTo>
                    <a:pt x="1181" y="3814"/>
                  </a:lnTo>
                  <a:lnTo>
                    <a:pt x="1177" y="3788"/>
                  </a:lnTo>
                  <a:lnTo>
                    <a:pt x="1177" y="3621"/>
                  </a:lnTo>
                  <a:lnTo>
                    <a:pt x="1103" y="3601"/>
                  </a:lnTo>
                  <a:lnTo>
                    <a:pt x="1030" y="3576"/>
                  </a:lnTo>
                  <a:lnTo>
                    <a:pt x="959" y="3547"/>
                  </a:lnTo>
                  <a:lnTo>
                    <a:pt x="891" y="3512"/>
                  </a:lnTo>
                  <a:lnTo>
                    <a:pt x="824" y="3475"/>
                  </a:lnTo>
                  <a:lnTo>
                    <a:pt x="705" y="3593"/>
                  </a:lnTo>
                  <a:lnTo>
                    <a:pt x="688" y="3607"/>
                  </a:lnTo>
                  <a:lnTo>
                    <a:pt x="668" y="3616"/>
                  </a:lnTo>
                  <a:lnTo>
                    <a:pt x="648" y="3620"/>
                  </a:lnTo>
                  <a:lnTo>
                    <a:pt x="626" y="3620"/>
                  </a:lnTo>
                  <a:lnTo>
                    <a:pt x="606" y="3616"/>
                  </a:lnTo>
                  <a:lnTo>
                    <a:pt x="586" y="3607"/>
                  </a:lnTo>
                  <a:lnTo>
                    <a:pt x="570" y="3593"/>
                  </a:lnTo>
                  <a:lnTo>
                    <a:pt x="291" y="3316"/>
                  </a:lnTo>
                  <a:lnTo>
                    <a:pt x="278" y="3298"/>
                  </a:lnTo>
                  <a:lnTo>
                    <a:pt x="269" y="3280"/>
                  </a:lnTo>
                  <a:lnTo>
                    <a:pt x="264" y="3258"/>
                  </a:lnTo>
                  <a:lnTo>
                    <a:pt x="264" y="3238"/>
                  </a:lnTo>
                  <a:lnTo>
                    <a:pt x="269" y="3217"/>
                  </a:lnTo>
                  <a:lnTo>
                    <a:pt x="278" y="3198"/>
                  </a:lnTo>
                  <a:lnTo>
                    <a:pt x="291" y="3180"/>
                  </a:lnTo>
                  <a:lnTo>
                    <a:pt x="411" y="3062"/>
                  </a:lnTo>
                  <a:lnTo>
                    <a:pt x="372" y="2995"/>
                  </a:lnTo>
                  <a:lnTo>
                    <a:pt x="339" y="2926"/>
                  </a:lnTo>
                  <a:lnTo>
                    <a:pt x="309" y="2856"/>
                  </a:lnTo>
                  <a:lnTo>
                    <a:pt x="284" y="2783"/>
                  </a:lnTo>
                  <a:lnTo>
                    <a:pt x="264" y="2710"/>
                  </a:lnTo>
                  <a:lnTo>
                    <a:pt x="96" y="2710"/>
                  </a:lnTo>
                  <a:lnTo>
                    <a:pt x="71" y="2706"/>
                  </a:lnTo>
                  <a:lnTo>
                    <a:pt x="47" y="2697"/>
                  </a:lnTo>
                  <a:lnTo>
                    <a:pt x="28" y="2682"/>
                  </a:lnTo>
                  <a:lnTo>
                    <a:pt x="13" y="2661"/>
                  </a:lnTo>
                  <a:lnTo>
                    <a:pt x="3" y="2639"/>
                  </a:lnTo>
                  <a:lnTo>
                    <a:pt x="0" y="2613"/>
                  </a:lnTo>
                  <a:lnTo>
                    <a:pt x="0" y="2222"/>
                  </a:lnTo>
                  <a:lnTo>
                    <a:pt x="3" y="2197"/>
                  </a:lnTo>
                  <a:lnTo>
                    <a:pt x="13" y="2173"/>
                  </a:lnTo>
                  <a:lnTo>
                    <a:pt x="28" y="2154"/>
                  </a:lnTo>
                  <a:lnTo>
                    <a:pt x="47" y="2139"/>
                  </a:lnTo>
                  <a:lnTo>
                    <a:pt x="71" y="2130"/>
                  </a:lnTo>
                  <a:lnTo>
                    <a:pt x="96" y="2126"/>
                  </a:lnTo>
                  <a:lnTo>
                    <a:pt x="264" y="2126"/>
                  </a:lnTo>
                  <a:lnTo>
                    <a:pt x="284" y="2052"/>
                  </a:lnTo>
                  <a:lnTo>
                    <a:pt x="309" y="1980"/>
                  </a:lnTo>
                  <a:lnTo>
                    <a:pt x="339" y="1909"/>
                  </a:lnTo>
                  <a:lnTo>
                    <a:pt x="372" y="1840"/>
                  </a:lnTo>
                  <a:lnTo>
                    <a:pt x="411" y="1774"/>
                  </a:lnTo>
                  <a:lnTo>
                    <a:pt x="291" y="1655"/>
                  </a:lnTo>
                  <a:lnTo>
                    <a:pt x="279" y="1640"/>
                  </a:lnTo>
                  <a:lnTo>
                    <a:pt x="271" y="1624"/>
                  </a:lnTo>
                  <a:lnTo>
                    <a:pt x="265" y="1606"/>
                  </a:lnTo>
                  <a:lnTo>
                    <a:pt x="264" y="1587"/>
                  </a:lnTo>
                  <a:lnTo>
                    <a:pt x="265" y="1568"/>
                  </a:lnTo>
                  <a:lnTo>
                    <a:pt x="271" y="1551"/>
                  </a:lnTo>
                  <a:lnTo>
                    <a:pt x="279" y="1534"/>
                  </a:lnTo>
                  <a:lnTo>
                    <a:pt x="291" y="1520"/>
                  </a:lnTo>
                  <a:lnTo>
                    <a:pt x="570" y="1242"/>
                  </a:lnTo>
                  <a:lnTo>
                    <a:pt x="586" y="1229"/>
                  </a:lnTo>
                  <a:lnTo>
                    <a:pt x="606" y="1220"/>
                  </a:lnTo>
                  <a:lnTo>
                    <a:pt x="626" y="1215"/>
                  </a:lnTo>
                  <a:lnTo>
                    <a:pt x="648" y="1215"/>
                  </a:lnTo>
                  <a:lnTo>
                    <a:pt x="668" y="1220"/>
                  </a:lnTo>
                  <a:lnTo>
                    <a:pt x="688" y="1229"/>
                  </a:lnTo>
                  <a:lnTo>
                    <a:pt x="705" y="1242"/>
                  </a:lnTo>
                  <a:lnTo>
                    <a:pt x="824" y="1361"/>
                  </a:lnTo>
                  <a:lnTo>
                    <a:pt x="891" y="1322"/>
                  </a:lnTo>
                  <a:lnTo>
                    <a:pt x="959" y="1289"/>
                  </a:lnTo>
                  <a:lnTo>
                    <a:pt x="1030" y="1260"/>
                  </a:lnTo>
                  <a:lnTo>
                    <a:pt x="1103" y="1235"/>
                  </a:lnTo>
                  <a:lnTo>
                    <a:pt x="1177" y="1215"/>
                  </a:lnTo>
                  <a:lnTo>
                    <a:pt x="1177" y="1047"/>
                  </a:lnTo>
                  <a:lnTo>
                    <a:pt x="1181" y="1022"/>
                  </a:lnTo>
                  <a:lnTo>
                    <a:pt x="1190" y="999"/>
                  </a:lnTo>
                  <a:lnTo>
                    <a:pt x="1206" y="980"/>
                  </a:lnTo>
                  <a:lnTo>
                    <a:pt x="1225" y="964"/>
                  </a:lnTo>
                  <a:lnTo>
                    <a:pt x="1248" y="955"/>
                  </a:lnTo>
                  <a:lnTo>
                    <a:pt x="1273" y="951"/>
                  </a:lnTo>
                  <a:lnTo>
                    <a:pt x="1526" y="951"/>
                  </a:lnTo>
                  <a:lnTo>
                    <a:pt x="1526" y="433"/>
                  </a:lnTo>
                  <a:lnTo>
                    <a:pt x="1529" y="378"/>
                  </a:lnTo>
                  <a:lnTo>
                    <a:pt x="1539" y="326"/>
                  </a:lnTo>
                  <a:lnTo>
                    <a:pt x="1554" y="277"/>
                  </a:lnTo>
                  <a:lnTo>
                    <a:pt x="1576" y="229"/>
                  </a:lnTo>
                  <a:lnTo>
                    <a:pt x="1603" y="186"/>
                  </a:lnTo>
                  <a:lnTo>
                    <a:pt x="1634" y="145"/>
                  </a:lnTo>
                  <a:lnTo>
                    <a:pt x="1671" y="110"/>
                  </a:lnTo>
                  <a:lnTo>
                    <a:pt x="1711" y="78"/>
                  </a:lnTo>
                  <a:lnTo>
                    <a:pt x="1755" y="51"/>
                  </a:lnTo>
                  <a:lnTo>
                    <a:pt x="1802" y="30"/>
                  </a:lnTo>
                  <a:lnTo>
                    <a:pt x="1851" y="13"/>
                  </a:lnTo>
                  <a:lnTo>
                    <a:pt x="1905" y="4"/>
                  </a:lnTo>
                  <a:lnTo>
                    <a:pt x="195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612;p35"/>
            <p:cNvSpPr/>
            <p:nvPr/>
          </p:nvSpPr>
          <p:spPr>
            <a:xfrm>
              <a:off x="4011" y="1343"/>
              <a:ext cx="402" cy="477"/>
            </a:xfrm>
            <a:custGeom>
              <a:avLst/>
              <a:gdLst/>
              <a:ahLst/>
              <a:cxnLst/>
              <a:rect l="l" t="t" r="r" b="b"/>
              <a:pathLst>
                <a:path w="803" h="953" extrusionOk="0">
                  <a:moveTo>
                    <a:pt x="401" y="0"/>
                  </a:moveTo>
                  <a:lnTo>
                    <a:pt x="456" y="3"/>
                  </a:lnTo>
                  <a:lnTo>
                    <a:pt x="508" y="14"/>
                  </a:lnTo>
                  <a:lnTo>
                    <a:pt x="558" y="30"/>
                  </a:lnTo>
                  <a:lnTo>
                    <a:pt x="604" y="54"/>
                  </a:lnTo>
                  <a:lnTo>
                    <a:pt x="647" y="82"/>
                  </a:lnTo>
                  <a:lnTo>
                    <a:pt x="686" y="117"/>
                  </a:lnTo>
                  <a:lnTo>
                    <a:pt x="720" y="156"/>
                  </a:lnTo>
                  <a:lnTo>
                    <a:pt x="749" y="198"/>
                  </a:lnTo>
                  <a:lnTo>
                    <a:pt x="772" y="244"/>
                  </a:lnTo>
                  <a:lnTo>
                    <a:pt x="789" y="294"/>
                  </a:lnTo>
                  <a:lnTo>
                    <a:pt x="799" y="346"/>
                  </a:lnTo>
                  <a:lnTo>
                    <a:pt x="803" y="400"/>
                  </a:lnTo>
                  <a:lnTo>
                    <a:pt x="799" y="449"/>
                  </a:lnTo>
                  <a:lnTo>
                    <a:pt x="790" y="496"/>
                  </a:lnTo>
                  <a:lnTo>
                    <a:pt x="773" y="542"/>
                  </a:lnTo>
                  <a:lnTo>
                    <a:pt x="753" y="587"/>
                  </a:lnTo>
                  <a:lnTo>
                    <a:pt x="727" y="632"/>
                  </a:lnTo>
                  <a:lnTo>
                    <a:pt x="699" y="674"/>
                  </a:lnTo>
                  <a:lnTo>
                    <a:pt x="668" y="715"/>
                  </a:lnTo>
                  <a:lnTo>
                    <a:pt x="635" y="755"/>
                  </a:lnTo>
                  <a:lnTo>
                    <a:pt x="600" y="793"/>
                  </a:lnTo>
                  <a:lnTo>
                    <a:pt x="565" y="829"/>
                  </a:lnTo>
                  <a:lnTo>
                    <a:pt x="532" y="863"/>
                  </a:lnTo>
                  <a:lnTo>
                    <a:pt x="499" y="897"/>
                  </a:lnTo>
                  <a:lnTo>
                    <a:pt x="470" y="925"/>
                  </a:lnTo>
                  <a:lnTo>
                    <a:pt x="455" y="937"/>
                  </a:lnTo>
                  <a:lnTo>
                    <a:pt x="438" y="946"/>
                  </a:lnTo>
                  <a:lnTo>
                    <a:pt x="420" y="951"/>
                  </a:lnTo>
                  <a:lnTo>
                    <a:pt x="401" y="953"/>
                  </a:lnTo>
                  <a:lnTo>
                    <a:pt x="384" y="951"/>
                  </a:lnTo>
                  <a:lnTo>
                    <a:pt x="366" y="946"/>
                  </a:lnTo>
                  <a:lnTo>
                    <a:pt x="349" y="937"/>
                  </a:lnTo>
                  <a:lnTo>
                    <a:pt x="334" y="925"/>
                  </a:lnTo>
                  <a:lnTo>
                    <a:pt x="320" y="907"/>
                  </a:lnTo>
                  <a:lnTo>
                    <a:pt x="310" y="888"/>
                  </a:lnTo>
                  <a:lnTo>
                    <a:pt x="307" y="868"/>
                  </a:lnTo>
                  <a:lnTo>
                    <a:pt x="307" y="847"/>
                  </a:lnTo>
                  <a:lnTo>
                    <a:pt x="310" y="826"/>
                  </a:lnTo>
                  <a:lnTo>
                    <a:pt x="320" y="807"/>
                  </a:lnTo>
                  <a:lnTo>
                    <a:pt x="334" y="789"/>
                  </a:lnTo>
                  <a:lnTo>
                    <a:pt x="362" y="761"/>
                  </a:lnTo>
                  <a:lnTo>
                    <a:pt x="391" y="732"/>
                  </a:lnTo>
                  <a:lnTo>
                    <a:pt x="420" y="703"/>
                  </a:lnTo>
                  <a:lnTo>
                    <a:pt x="451" y="671"/>
                  </a:lnTo>
                  <a:lnTo>
                    <a:pt x="481" y="638"/>
                  </a:lnTo>
                  <a:lnTo>
                    <a:pt x="510" y="605"/>
                  </a:lnTo>
                  <a:lnTo>
                    <a:pt x="538" y="569"/>
                  </a:lnTo>
                  <a:lnTo>
                    <a:pt x="561" y="535"/>
                  </a:lnTo>
                  <a:lnTo>
                    <a:pt x="582" y="499"/>
                  </a:lnTo>
                  <a:lnTo>
                    <a:pt x="598" y="465"/>
                  </a:lnTo>
                  <a:lnTo>
                    <a:pt x="608" y="432"/>
                  </a:lnTo>
                  <a:lnTo>
                    <a:pt x="611" y="400"/>
                  </a:lnTo>
                  <a:lnTo>
                    <a:pt x="608" y="362"/>
                  </a:lnTo>
                  <a:lnTo>
                    <a:pt x="598" y="327"/>
                  </a:lnTo>
                  <a:lnTo>
                    <a:pt x="583" y="295"/>
                  </a:lnTo>
                  <a:lnTo>
                    <a:pt x="561" y="265"/>
                  </a:lnTo>
                  <a:lnTo>
                    <a:pt x="537" y="241"/>
                  </a:lnTo>
                  <a:lnTo>
                    <a:pt x="507" y="219"/>
                  </a:lnTo>
                  <a:lnTo>
                    <a:pt x="475" y="204"/>
                  </a:lnTo>
                  <a:lnTo>
                    <a:pt x="439" y="195"/>
                  </a:lnTo>
                  <a:lnTo>
                    <a:pt x="401" y="191"/>
                  </a:lnTo>
                  <a:lnTo>
                    <a:pt x="365" y="195"/>
                  </a:lnTo>
                  <a:lnTo>
                    <a:pt x="329" y="204"/>
                  </a:lnTo>
                  <a:lnTo>
                    <a:pt x="296" y="219"/>
                  </a:lnTo>
                  <a:lnTo>
                    <a:pt x="266" y="241"/>
                  </a:lnTo>
                  <a:lnTo>
                    <a:pt x="242" y="265"/>
                  </a:lnTo>
                  <a:lnTo>
                    <a:pt x="221" y="295"/>
                  </a:lnTo>
                  <a:lnTo>
                    <a:pt x="206" y="327"/>
                  </a:lnTo>
                  <a:lnTo>
                    <a:pt x="195" y="362"/>
                  </a:lnTo>
                  <a:lnTo>
                    <a:pt x="192" y="400"/>
                  </a:lnTo>
                  <a:lnTo>
                    <a:pt x="189" y="425"/>
                  </a:lnTo>
                  <a:lnTo>
                    <a:pt x="179" y="449"/>
                  </a:lnTo>
                  <a:lnTo>
                    <a:pt x="165" y="468"/>
                  </a:lnTo>
                  <a:lnTo>
                    <a:pt x="144" y="483"/>
                  </a:lnTo>
                  <a:lnTo>
                    <a:pt x="122" y="492"/>
                  </a:lnTo>
                  <a:lnTo>
                    <a:pt x="96" y="496"/>
                  </a:lnTo>
                  <a:lnTo>
                    <a:pt x="71" y="492"/>
                  </a:lnTo>
                  <a:lnTo>
                    <a:pt x="47" y="483"/>
                  </a:lnTo>
                  <a:lnTo>
                    <a:pt x="28" y="468"/>
                  </a:lnTo>
                  <a:lnTo>
                    <a:pt x="13" y="449"/>
                  </a:lnTo>
                  <a:lnTo>
                    <a:pt x="3" y="425"/>
                  </a:lnTo>
                  <a:lnTo>
                    <a:pt x="0" y="400"/>
                  </a:lnTo>
                  <a:lnTo>
                    <a:pt x="3" y="346"/>
                  </a:lnTo>
                  <a:lnTo>
                    <a:pt x="14" y="294"/>
                  </a:lnTo>
                  <a:lnTo>
                    <a:pt x="32" y="244"/>
                  </a:lnTo>
                  <a:lnTo>
                    <a:pt x="56" y="198"/>
                  </a:lnTo>
                  <a:lnTo>
                    <a:pt x="84" y="156"/>
                  </a:lnTo>
                  <a:lnTo>
                    <a:pt x="118" y="117"/>
                  </a:lnTo>
                  <a:lnTo>
                    <a:pt x="156" y="82"/>
                  </a:lnTo>
                  <a:lnTo>
                    <a:pt x="199" y="54"/>
                  </a:lnTo>
                  <a:lnTo>
                    <a:pt x="245" y="30"/>
                  </a:lnTo>
                  <a:lnTo>
                    <a:pt x="295" y="14"/>
                  </a:lnTo>
                  <a:lnTo>
                    <a:pt x="347" y="3"/>
                  </a:lnTo>
                  <a:lnTo>
                    <a:pt x="4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613;p35"/>
            <p:cNvSpPr/>
            <p:nvPr/>
          </p:nvSpPr>
          <p:spPr>
            <a:xfrm>
              <a:off x="4141" y="1861"/>
              <a:ext cx="115" cy="115"/>
            </a:xfrm>
            <a:custGeom>
              <a:avLst/>
              <a:gdLst/>
              <a:ahLst/>
              <a:cxnLst/>
              <a:rect l="l" t="t" r="r" b="b"/>
              <a:pathLst>
                <a:path w="231" h="230" extrusionOk="0">
                  <a:moveTo>
                    <a:pt x="116" y="0"/>
                  </a:moveTo>
                  <a:lnTo>
                    <a:pt x="139" y="2"/>
                  </a:lnTo>
                  <a:lnTo>
                    <a:pt x="160" y="9"/>
                  </a:lnTo>
                  <a:lnTo>
                    <a:pt x="180" y="20"/>
                  </a:lnTo>
                  <a:lnTo>
                    <a:pt x="198" y="34"/>
                  </a:lnTo>
                  <a:lnTo>
                    <a:pt x="212" y="51"/>
                  </a:lnTo>
                  <a:lnTo>
                    <a:pt x="223" y="71"/>
                  </a:lnTo>
                  <a:lnTo>
                    <a:pt x="229" y="93"/>
                  </a:lnTo>
                  <a:lnTo>
                    <a:pt x="231" y="116"/>
                  </a:lnTo>
                  <a:lnTo>
                    <a:pt x="229" y="138"/>
                  </a:lnTo>
                  <a:lnTo>
                    <a:pt x="223" y="160"/>
                  </a:lnTo>
                  <a:lnTo>
                    <a:pt x="212" y="180"/>
                  </a:lnTo>
                  <a:lnTo>
                    <a:pt x="198" y="196"/>
                  </a:lnTo>
                  <a:lnTo>
                    <a:pt x="180" y="212"/>
                  </a:lnTo>
                  <a:lnTo>
                    <a:pt x="160" y="221"/>
                  </a:lnTo>
                  <a:lnTo>
                    <a:pt x="139" y="228"/>
                  </a:lnTo>
                  <a:lnTo>
                    <a:pt x="116" y="230"/>
                  </a:lnTo>
                  <a:lnTo>
                    <a:pt x="94" y="228"/>
                  </a:lnTo>
                  <a:lnTo>
                    <a:pt x="72" y="221"/>
                  </a:lnTo>
                  <a:lnTo>
                    <a:pt x="52" y="212"/>
                  </a:lnTo>
                  <a:lnTo>
                    <a:pt x="35" y="196"/>
                  </a:lnTo>
                  <a:lnTo>
                    <a:pt x="20" y="180"/>
                  </a:lnTo>
                  <a:lnTo>
                    <a:pt x="10" y="160"/>
                  </a:lnTo>
                  <a:lnTo>
                    <a:pt x="3" y="138"/>
                  </a:lnTo>
                  <a:lnTo>
                    <a:pt x="0" y="116"/>
                  </a:lnTo>
                  <a:lnTo>
                    <a:pt x="3" y="93"/>
                  </a:lnTo>
                  <a:lnTo>
                    <a:pt x="10" y="71"/>
                  </a:lnTo>
                  <a:lnTo>
                    <a:pt x="20" y="51"/>
                  </a:lnTo>
                  <a:lnTo>
                    <a:pt x="35" y="34"/>
                  </a:lnTo>
                  <a:lnTo>
                    <a:pt x="52" y="20"/>
                  </a:lnTo>
                  <a:lnTo>
                    <a:pt x="72" y="9"/>
                  </a:lnTo>
                  <a:lnTo>
                    <a:pt x="94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oogle Shape;179;p27"/>
          <p:cNvGrpSpPr/>
          <p:nvPr/>
        </p:nvGrpSpPr>
        <p:grpSpPr>
          <a:xfrm>
            <a:off x="5593164" y="2935190"/>
            <a:ext cx="2767065" cy="1740956"/>
            <a:chOff x="8727978" y="4375610"/>
            <a:chExt cx="2664257" cy="1292662"/>
          </a:xfrm>
        </p:grpSpPr>
        <p:sp>
          <p:nvSpPr>
            <p:cNvPr id="180" name="Google Shape;180;p27"/>
            <p:cNvSpPr/>
            <p:nvPr/>
          </p:nvSpPr>
          <p:spPr>
            <a:xfrm>
              <a:off x="8727978" y="4744942"/>
              <a:ext cx="2664257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i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Calibri"/>
                </a:rPr>
                <a:t>Some processes may be bypassed in the Demand Management prioritization.</a:t>
              </a:r>
              <a:endParaRPr sz="135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27"/>
            <p:cNvSpPr/>
            <p:nvPr/>
          </p:nvSpPr>
          <p:spPr>
            <a:xfrm>
              <a:off x="8727978" y="4375610"/>
              <a:ext cx="1864613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CESS EXCEPTIONS</a:t>
              </a:r>
              <a:endParaRPr sz="13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7" name="Google Shape;197;p27"/>
          <p:cNvSpPr/>
          <p:nvPr/>
        </p:nvSpPr>
        <p:spPr>
          <a:xfrm rot="-7273150">
            <a:off x="2598046" y="1865143"/>
            <a:ext cx="1123928" cy="553643"/>
          </a:xfrm>
          <a:prstGeom prst="homePlate">
            <a:avLst>
              <a:gd name="adj" fmla="val 44193"/>
            </a:avLst>
          </a:prstGeom>
          <a:gradFill>
            <a:gsLst>
              <a:gs pos="0">
                <a:srgbClr val="FE9E98"/>
              </a:gs>
              <a:gs pos="46000">
                <a:srgbClr val="FF1B0B"/>
              </a:gs>
              <a:gs pos="100000">
                <a:srgbClr val="980A00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" name="Google Shape;199;p27"/>
          <p:cNvSpPr/>
          <p:nvPr/>
        </p:nvSpPr>
        <p:spPr>
          <a:xfrm rot="6977100">
            <a:off x="3269635" y="2610287"/>
            <a:ext cx="1124712" cy="1122218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88900" sx="104999" sy="104999" algn="ct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" name="Google Shape;201;p27"/>
          <p:cNvSpPr/>
          <p:nvPr/>
        </p:nvSpPr>
        <p:spPr>
          <a:xfrm rot="6977100">
            <a:off x="3391119" y="2729056"/>
            <a:ext cx="881743" cy="884682"/>
          </a:xfrm>
          <a:prstGeom prst="ellipse">
            <a:avLst/>
          </a:prstGeom>
          <a:solidFill>
            <a:srgbClr val="FF6F6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273" y="2846792"/>
            <a:ext cx="622902" cy="622902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7883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ip dir="l"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9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20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17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19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7" grpId="0" animBg="1"/>
      <p:bldP spid="199" grpId="0" animBg="1"/>
      <p:bldP spid="20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27"/>
          <p:cNvGrpSpPr/>
          <p:nvPr/>
        </p:nvGrpSpPr>
        <p:grpSpPr>
          <a:xfrm>
            <a:off x="1169740" y="695325"/>
            <a:ext cx="3362325" cy="3752850"/>
            <a:chOff x="1333500" y="647700"/>
            <a:chExt cx="4483100" cy="5003800"/>
          </a:xfrm>
        </p:grpSpPr>
        <p:sp>
          <p:nvSpPr>
            <p:cNvPr id="174" name="Google Shape;174;p27"/>
            <p:cNvSpPr/>
            <p:nvPr/>
          </p:nvSpPr>
          <p:spPr>
            <a:xfrm>
              <a:off x="13335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27"/>
            <p:cNvSpPr/>
            <p:nvPr/>
          </p:nvSpPr>
          <p:spPr>
            <a:xfrm>
              <a:off x="1333500" y="2844798"/>
              <a:ext cx="4483100" cy="1103921"/>
            </a:xfrm>
            <a:prstGeom prst="rect">
              <a:avLst/>
            </a:prstGeom>
            <a:solidFill>
              <a:srgbClr val="1D6DB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chemeClr val="lt1"/>
                  </a:solidFill>
                </a:rPr>
                <a:t>   </a:t>
              </a: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76" name="Google Shape;176;p27"/>
            <p:cNvCxnSpPr/>
            <p:nvPr/>
          </p:nvCxnSpPr>
          <p:spPr>
            <a:xfrm rot="10800000" flipH="1">
              <a:off x="13335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2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177" name="Google Shape;177;p27"/>
            <p:cNvSpPr/>
            <p:nvPr/>
          </p:nvSpPr>
          <p:spPr>
            <a:xfrm>
              <a:off x="1752600" y="4191000"/>
              <a:ext cx="3644900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350" dirty="0" smtClean="0">
                  <a:solidFill>
                    <a:srgbClr val="595959"/>
                  </a:solidFill>
                </a:rPr>
                <a:t>Mandated by the government</a:t>
              </a:r>
              <a:endParaRPr sz="1050" dirty="0"/>
            </a:p>
          </p:txBody>
        </p:sp>
        <p:grpSp>
          <p:nvGrpSpPr>
            <p:cNvPr id="178" name="Google Shape;178;p27"/>
            <p:cNvGrpSpPr/>
            <p:nvPr/>
          </p:nvGrpSpPr>
          <p:grpSpPr>
            <a:xfrm>
              <a:off x="1838108" y="3060476"/>
              <a:ext cx="3559265" cy="707886"/>
              <a:chOff x="1689099" y="3060476"/>
              <a:chExt cx="3559265" cy="707886"/>
            </a:xfrm>
          </p:grpSpPr>
          <p:sp>
            <p:nvSpPr>
              <p:cNvPr id="179" name="Google Shape;179;p27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chemeClr val="lt2"/>
                    </a:solidFill>
                  </a:rPr>
                  <a:t>01</a:t>
                </a:r>
                <a:endParaRPr sz="1050"/>
              </a:p>
            </p:txBody>
          </p:sp>
          <p:cxnSp>
            <p:nvCxnSpPr>
              <p:cNvPr id="180" name="Google Shape;180;p27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81" name="Google Shape;181;p27"/>
              <p:cNvSpPr/>
              <p:nvPr/>
            </p:nvSpPr>
            <p:spPr>
              <a:xfrm>
                <a:off x="2541764" y="3091250"/>
                <a:ext cx="2706600" cy="646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1600" dirty="0" smtClean="0">
                    <a:solidFill>
                      <a:schemeClr val="lt1"/>
                    </a:solidFill>
                  </a:rPr>
                  <a:t>Processes with legal implications</a:t>
                </a:r>
                <a:endParaRPr sz="700" dirty="0"/>
              </a:p>
            </p:txBody>
          </p:sp>
        </p:grpSp>
        <p:sp>
          <p:nvSpPr>
            <p:cNvPr id="182" name="Google Shape;182;p27"/>
            <p:cNvSpPr/>
            <p:nvPr/>
          </p:nvSpPr>
          <p:spPr>
            <a:xfrm>
              <a:off x="5296500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Google Shape;183;p27"/>
            <p:cNvSpPr/>
            <p:nvPr/>
          </p:nvSpPr>
          <p:spPr>
            <a:xfrm>
              <a:off x="5296500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4" name="Google Shape;184;p27"/>
          <p:cNvGrpSpPr/>
          <p:nvPr/>
        </p:nvGrpSpPr>
        <p:grpSpPr>
          <a:xfrm>
            <a:off x="4611935" y="695325"/>
            <a:ext cx="3362325" cy="3752850"/>
            <a:chOff x="6121400" y="647700"/>
            <a:chExt cx="4483100" cy="5003800"/>
          </a:xfrm>
        </p:grpSpPr>
        <p:sp>
          <p:nvSpPr>
            <p:cNvPr id="185" name="Google Shape;185;p27"/>
            <p:cNvSpPr/>
            <p:nvPr/>
          </p:nvSpPr>
          <p:spPr>
            <a:xfrm>
              <a:off x="6121400" y="647700"/>
              <a:ext cx="4483100" cy="5003800"/>
            </a:xfrm>
            <a:prstGeom prst="roundRect">
              <a:avLst>
                <a:gd name="adj" fmla="val 3204"/>
              </a:avLst>
            </a:prstGeom>
            <a:solidFill>
              <a:schemeClr val="lt2"/>
            </a:solidFill>
            <a:ln>
              <a:noFill/>
            </a:ln>
            <a:effectLst>
              <a:outerShdw blurRad="241300" dist="127000" dir="4800000" algn="t" rotWithShape="0">
                <a:srgbClr val="000000">
                  <a:alpha val="23921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27"/>
            <p:cNvSpPr/>
            <p:nvPr/>
          </p:nvSpPr>
          <p:spPr>
            <a:xfrm>
              <a:off x="6121400" y="2844798"/>
              <a:ext cx="4483100" cy="110392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2400">
                  <a:solidFill>
                    <a:schemeClr val="lt1"/>
                  </a:solidFill>
                </a:rPr>
                <a:t>   </a:t>
              </a: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Google Shape;187;p27"/>
            <p:cNvSpPr/>
            <p:nvPr/>
          </p:nvSpPr>
          <p:spPr>
            <a:xfrm>
              <a:off x="6540500" y="4191000"/>
              <a:ext cx="3644900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algn="ctr"/>
              <a:r>
                <a:rPr lang="en-US" sz="1350" dirty="0" smtClean="0">
                  <a:solidFill>
                    <a:srgbClr val="595959"/>
                  </a:solidFill>
                </a:rPr>
                <a:t>Change in business direction</a:t>
              </a:r>
              <a:endParaRPr sz="1050" dirty="0"/>
            </a:p>
          </p:txBody>
        </p:sp>
        <p:grpSp>
          <p:nvGrpSpPr>
            <p:cNvPr id="188" name="Google Shape;188;p27"/>
            <p:cNvGrpSpPr/>
            <p:nvPr/>
          </p:nvGrpSpPr>
          <p:grpSpPr>
            <a:xfrm>
              <a:off x="6626008" y="3060476"/>
              <a:ext cx="3559244" cy="707886"/>
              <a:chOff x="1689099" y="3060476"/>
              <a:chExt cx="3559244" cy="707886"/>
            </a:xfrm>
          </p:grpSpPr>
          <p:sp>
            <p:nvSpPr>
              <p:cNvPr id="189" name="Google Shape;189;p27"/>
              <p:cNvSpPr/>
              <p:nvPr/>
            </p:nvSpPr>
            <p:spPr>
              <a:xfrm>
                <a:off x="1689099" y="3060476"/>
                <a:ext cx="774701" cy="707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 algn="ctr"/>
                <a:r>
                  <a:rPr lang="en-US" sz="3000">
                    <a:solidFill>
                      <a:schemeClr val="lt2"/>
                    </a:solidFill>
                  </a:rPr>
                  <a:t>02</a:t>
                </a:r>
                <a:endParaRPr sz="1050"/>
              </a:p>
            </p:txBody>
          </p:sp>
          <p:cxnSp>
            <p:nvCxnSpPr>
              <p:cNvPr id="190" name="Google Shape;190;p27"/>
              <p:cNvCxnSpPr/>
              <p:nvPr/>
            </p:nvCxnSpPr>
            <p:spPr>
              <a:xfrm>
                <a:off x="2476500" y="3104371"/>
                <a:ext cx="0" cy="584775"/>
              </a:xfrm>
              <a:prstGeom prst="straightConnector1">
                <a:avLst/>
              </a:prstGeom>
              <a:noFill/>
              <a:ln w="28575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91" name="Google Shape;191;p27"/>
              <p:cNvSpPr/>
              <p:nvPr/>
            </p:nvSpPr>
            <p:spPr>
              <a:xfrm>
                <a:off x="2541743" y="3091250"/>
                <a:ext cx="2706600" cy="646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r>
                  <a:rPr lang="en-US" sz="1600" dirty="0" smtClean="0">
                    <a:solidFill>
                      <a:schemeClr val="lt1"/>
                    </a:solidFill>
                  </a:rPr>
                  <a:t>Management Directive</a:t>
                </a:r>
                <a:endParaRPr sz="700" dirty="0"/>
              </a:p>
            </p:txBody>
          </p:sp>
        </p:grpSp>
        <p:sp>
          <p:nvSpPr>
            <p:cNvPr id="192" name="Google Shape;192;p27"/>
            <p:cNvSpPr/>
            <p:nvPr/>
          </p:nvSpPr>
          <p:spPr>
            <a:xfrm flipH="1">
              <a:off x="6288823" y="1715530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27"/>
            <p:cNvSpPr/>
            <p:nvPr/>
          </p:nvSpPr>
          <p:spPr>
            <a:xfrm flipH="1">
              <a:off x="6288823" y="4712227"/>
              <a:ext cx="365760" cy="365760"/>
            </a:xfrm>
            <a:prstGeom prst="ellipse">
              <a:avLst/>
            </a:prstGeom>
            <a:solidFill>
              <a:schemeClr val="lt2"/>
            </a:solidFill>
            <a:ln w="381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94" name="Google Shape;194;p27"/>
            <p:cNvCxnSpPr/>
            <p:nvPr/>
          </p:nvCxnSpPr>
          <p:spPr>
            <a:xfrm rot="10800000" flipH="1">
              <a:off x="6121400" y="5292727"/>
              <a:ext cx="4483100" cy="14892"/>
            </a:xfrm>
            <a:prstGeom prst="straightConnector1">
              <a:avLst/>
            </a:prstGeom>
            <a:noFill/>
            <a:ln w="9525" cap="flat" cmpd="sng">
              <a:solidFill>
                <a:schemeClr val="accent5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95" name="Google Shape;195;p27"/>
          <p:cNvSpPr/>
          <p:nvPr/>
        </p:nvSpPr>
        <p:spPr>
          <a:xfrm>
            <a:off x="4259158" y="1547490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" name="Google Shape;196;p27"/>
          <p:cNvSpPr/>
          <p:nvPr/>
        </p:nvSpPr>
        <p:spPr>
          <a:xfrm>
            <a:off x="4259158" y="3803276"/>
            <a:ext cx="617220" cy="17145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BFBFBF"/>
              </a:gs>
              <a:gs pos="16000">
                <a:srgbClr val="BFBFBF"/>
              </a:gs>
              <a:gs pos="50000">
                <a:schemeClr val="lt1"/>
              </a:gs>
              <a:gs pos="84000">
                <a:srgbClr val="BFBFBF"/>
              </a:gs>
              <a:gs pos="100000">
                <a:srgbClr val="BFBFBF"/>
              </a:gs>
            </a:gsLst>
            <a:lin ang="0" scaled="0"/>
          </a:gra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290" y="1064487"/>
            <a:ext cx="909501" cy="9095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7695" y="1003621"/>
            <a:ext cx="945696" cy="970367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328924" y="4679545"/>
            <a:ext cx="44951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PH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enarios</a:t>
            </a:r>
            <a:endParaRPr lang="en-PH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7035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bg1">
              <a:lumMod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RSE OUTLINE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</p:grpSpPr>
        <p:sp>
          <p:nvSpPr>
            <p:cNvPr id="47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9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51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0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53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673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000">
              <a:srgbClr val="003692"/>
            </a:gs>
            <a:gs pos="51000">
              <a:srgbClr val="006FB9"/>
            </a:gs>
            <a:gs pos="100000">
              <a:srgbClr val="0051A5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982803-9E9D-4E88-B89D-AE846D8FB630}"/>
              </a:ext>
            </a:extLst>
          </p:cNvPr>
          <p:cNvSpPr/>
          <p:nvPr/>
        </p:nvSpPr>
        <p:spPr>
          <a:xfrm flipV="1">
            <a:off x="8681" y="2617712"/>
            <a:ext cx="9549323" cy="34289"/>
          </a:xfrm>
          <a:prstGeom prst="rect">
            <a:avLst/>
          </a:prstGeom>
          <a:gradFill>
            <a:gsLst>
              <a:gs pos="3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40">
              <a:buClrTx/>
            </a:pPr>
            <a:endParaRPr lang="en-US" sz="1800" kern="1200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4E16148-AD47-4697-8565-75E344F1B208}"/>
              </a:ext>
            </a:extLst>
          </p:cNvPr>
          <p:cNvSpPr txBox="1"/>
          <p:nvPr/>
        </p:nvSpPr>
        <p:spPr>
          <a:xfrm>
            <a:off x="4171950" y="1773464"/>
            <a:ext cx="491490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OLS</a:t>
            </a:r>
          </a:p>
          <a:p>
            <a:pPr defTabSz="914240">
              <a:buClrTx/>
            </a:pPr>
            <a:r>
              <a:rPr lang="en-US" sz="4950" b="1" kern="1200" dirty="0" smtClean="0">
                <a:solidFill>
                  <a:prstClr val="white">
                    <a:alpha val="49000"/>
                  </a:prst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IENTATION</a:t>
            </a:r>
            <a:endParaRPr lang="en-US" sz="4950" b="1" kern="1200" dirty="0">
              <a:solidFill>
                <a:prstClr val="white">
                  <a:alpha val="49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073236" y="124687"/>
            <a:ext cx="1246909" cy="259773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COVERY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320145" y="122842"/>
            <a:ext cx="1246909" cy="259773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ING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67054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LEMENT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813963" y="120997"/>
            <a:ext cx="1246909" cy="25977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26327" y="122842"/>
            <a:ext cx="1246909" cy="2597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TION</a:t>
            </a:r>
            <a:endParaRPr lang="en-US" sz="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4365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040413"/>
            <a:ext cx="6858000" cy="572625"/>
          </a:xfrm>
          <a:solidFill>
            <a:srgbClr val="0070C0"/>
          </a:solidFill>
        </p:spPr>
        <p:txBody>
          <a:bodyPr/>
          <a:lstStyle/>
          <a:p>
            <a:pPr algn="ctr"/>
            <a:r>
              <a:rPr lang="en-PH" sz="2700" dirty="0" smtClean="0"/>
              <a:t>DEMAND MANAGEMENT TOOL</a:t>
            </a:r>
            <a:endParaRPr lang="en-PH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316" y="204105"/>
            <a:ext cx="2865835" cy="1682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7840" y="3150454"/>
            <a:ext cx="2753160" cy="17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08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Setting up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e default weights of each economic impact criteria is 25%. But each business unit can modify this based on their own objectives. While doing this will affect prioritization internally, the default values will be the ones used by the </a:t>
            </a:r>
            <a:r>
              <a:rPr lang="en-US" dirty="0" err="1" smtClean="0">
                <a:solidFill>
                  <a:schemeClr val="bg1"/>
                </a:solidFill>
              </a:rPr>
              <a:t>CoE</a:t>
            </a:r>
            <a:r>
              <a:rPr lang="en-US" dirty="0" smtClean="0">
                <a:solidFill>
                  <a:schemeClr val="bg1"/>
                </a:solidFill>
              </a:rPr>
              <a:t> for the development pipeline.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034499"/>
              </p:ext>
            </p:extLst>
          </p:nvPr>
        </p:nvGraphicFramePr>
        <p:xfrm>
          <a:off x="1329598" y="1577482"/>
          <a:ext cx="6484804" cy="3262309"/>
        </p:xfrm>
        <a:graphic>
          <a:graphicData uri="http://schemas.openxmlformats.org/drawingml/2006/table">
            <a:tbl>
              <a:tblPr/>
              <a:tblGrid>
                <a:gridCol w="1377863"/>
                <a:gridCol w="771098"/>
                <a:gridCol w="758457"/>
                <a:gridCol w="777418"/>
                <a:gridCol w="651008"/>
                <a:gridCol w="1036557"/>
                <a:gridCol w="1112403"/>
              </a:tblGrid>
              <a:tr h="170653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PH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Sav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0653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065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igh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Ris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0653">
                <a:tc>
                  <a:txBody>
                    <a:bodyPr/>
                    <a:lstStyle/>
                    <a:p>
                      <a:pPr algn="l" fontAlgn="ctr"/>
                      <a:r>
                        <a:rPr lang="en-PH" sz="1000" b="0" i="0" u="none" strike="noStrike"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PH" sz="1000" b="0" i="0" u="none" strike="noStrike" dirty="0"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617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ffor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  <a:b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PH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ay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4964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4512"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9" name="Conector recto 8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000-000009000000}"/>
              </a:ext>
            </a:extLst>
          </p:cNvPr>
          <p:cNvCxnSpPr/>
          <p:nvPr/>
        </p:nvCxnSpPr>
        <p:spPr bwMode="auto">
          <a:xfrm flipV="1">
            <a:off x="3465499" y="1751959"/>
            <a:ext cx="783772" cy="653144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Conector recto 9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000-00000A000000}"/>
              </a:ext>
            </a:extLst>
          </p:cNvPr>
          <p:cNvCxnSpPr/>
          <p:nvPr/>
        </p:nvCxnSpPr>
        <p:spPr bwMode="auto">
          <a:xfrm flipV="1">
            <a:off x="3465499" y="2405104"/>
            <a:ext cx="783772" cy="184414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Conector recto 15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000-000010000000}"/>
              </a:ext>
            </a:extLst>
          </p:cNvPr>
          <p:cNvCxnSpPr/>
          <p:nvPr/>
        </p:nvCxnSpPr>
        <p:spPr bwMode="auto">
          <a:xfrm>
            <a:off x="3465499" y="2589518"/>
            <a:ext cx="783772" cy="32273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ector recto 18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000-000013000000}"/>
              </a:ext>
            </a:extLst>
          </p:cNvPr>
          <p:cNvCxnSpPr/>
          <p:nvPr/>
        </p:nvCxnSpPr>
        <p:spPr bwMode="auto">
          <a:xfrm>
            <a:off x="3465499" y="2743199"/>
            <a:ext cx="783772" cy="2096592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23"/>
          <p:cNvSpPr/>
          <p:nvPr/>
        </p:nvSpPr>
        <p:spPr>
          <a:xfrm>
            <a:off x="4994622" y="1751959"/>
            <a:ext cx="668511" cy="6531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4537548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158727"/>
              </p:ext>
            </p:extLst>
          </p:nvPr>
        </p:nvGraphicFramePr>
        <p:xfrm>
          <a:off x="628648" y="1537892"/>
          <a:ext cx="8215674" cy="2227289"/>
        </p:xfrm>
        <a:graphic>
          <a:graphicData uri="http://schemas.openxmlformats.org/drawingml/2006/table">
            <a:tbl>
              <a:tblPr/>
              <a:tblGrid>
                <a:gridCol w="2305710"/>
                <a:gridCol w="855140"/>
                <a:gridCol w="690446"/>
                <a:gridCol w="684111"/>
                <a:gridCol w="728452"/>
                <a:gridCol w="1038836"/>
                <a:gridCol w="874143"/>
                <a:gridCol w="1038836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8648" y="2236057"/>
            <a:ext cx="2322021" cy="7914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ll in the name of the process selected for RP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351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940007"/>
              </p:ext>
            </p:extLst>
          </p:nvPr>
        </p:nvGraphicFramePr>
        <p:xfrm>
          <a:off x="628648" y="1537892"/>
          <a:ext cx="8215674" cy="2227289"/>
        </p:xfrm>
        <a:graphic>
          <a:graphicData uri="http://schemas.openxmlformats.org/drawingml/2006/table">
            <a:tbl>
              <a:tblPr/>
              <a:tblGrid>
                <a:gridCol w="2305710"/>
                <a:gridCol w="855140"/>
                <a:gridCol w="690446"/>
                <a:gridCol w="684111"/>
                <a:gridCol w="728452"/>
                <a:gridCol w="1038836"/>
                <a:gridCol w="874143"/>
                <a:gridCol w="1038836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8648" y="2236056"/>
            <a:ext cx="2322021" cy="81450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ll in the name of the process selected for RP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5236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2623767"/>
              </p:ext>
            </p:extLst>
          </p:nvPr>
        </p:nvGraphicFramePr>
        <p:xfrm>
          <a:off x="628648" y="1537892"/>
          <a:ext cx="8215674" cy="2227289"/>
        </p:xfrm>
        <a:graphic>
          <a:graphicData uri="http://schemas.openxmlformats.org/drawingml/2006/table">
            <a:tbl>
              <a:tblPr/>
              <a:tblGrid>
                <a:gridCol w="2305710"/>
                <a:gridCol w="855140"/>
                <a:gridCol w="690446"/>
                <a:gridCol w="684111"/>
                <a:gridCol w="728452"/>
                <a:gridCol w="1038836"/>
                <a:gridCol w="874143"/>
                <a:gridCol w="1038836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03112" y="2236057"/>
            <a:ext cx="2998226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ll in the economic impact criteri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0523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83908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2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652067" y="3319501"/>
            <a:ext cx="4410636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avings (PHP) – Projected </a:t>
            </a:r>
            <a:r>
              <a:rPr lang="en-US" dirty="0" err="1" smtClean="0">
                <a:solidFill>
                  <a:schemeClr val="bg1"/>
                </a:solidFill>
              </a:rPr>
              <a:t>manhours</a:t>
            </a:r>
            <a:r>
              <a:rPr lang="en-US" dirty="0" smtClean="0">
                <a:solidFill>
                  <a:schemeClr val="bg1"/>
                </a:solidFill>
              </a:rPr>
              <a:t> to be saved after RPA multiplied by the rate per hour (annualiz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Revenue (PHP) – Increase in income due to process efficiency (e.g. increase in capacit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Risk Avoidance (PHP) – Reduction of cost due to mistakes (e.g. cost of rework, cost of good wil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Risk (PHP) – Additional cost in order to ensure other processes are not affected by the automation of the selected process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641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Freeform: Shape 85">
            <a:extLst>
              <a:ext uri="{FF2B5EF4-FFF2-40B4-BE49-F238E27FC236}">
                <a16:creationId xmlns="" xmlns:a16="http://schemas.microsoft.com/office/drawing/2014/main" id="{DE84B39C-29BB-4D33-905C-2D797E13C0F5}"/>
              </a:ext>
            </a:extLst>
          </p:cNvPr>
          <p:cNvSpPr/>
          <p:nvPr/>
        </p:nvSpPr>
        <p:spPr>
          <a:xfrm rot="20788111">
            <a:off x="-138337" y="3194730"/>
            <a:ext cx="4895471" cy="601694"/>
          </a:xfrm>
          <a:custGeom>
            <a:avLst/>
            <a:gdLst>
              <a:gd name="connsiteX0" fmla="*/ 6527294 w 6527294"/>
              <a:gd name="connsiteY0" fmla="*/ 0 h 802259"/>
              <a:gd name="connsiteX1" fmla="*/ 6527294 w 6527294"/>
              <a:gd name="connsiteY1" fmla="*/ 802259 h 802259"/>
              <a:gd name="connsiteX2" fmla="*/ 0 w 6527294"/>
              <a:gd name="connsiteY2" fmla="*/ 802259 h 802259"/>
              <a:gd name="connsiteX3" fmla="*/ 193071 w 6527294"/>
              <a:gd name="connsiteY3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27294" h="802259">
                <a:moveTo>
                  <a:pt x="6527294" y="0"/>
                </a:moveTo>
                <a:lnTo>
                  <a:pt x="6527294" y="802259"/>
                </a:lnTo>
                <a:lnTo>
                  <a:pt x="0" y="802259"/>
                </a:lnTo>
                <a:lnTo>
                  <a:pt x="193071" y="0"/>
                </a:lnTo>
                <a:close/>
              </a:path>
            </a:pathLst>
          </a:custGeom>
          <a:gradFill flip="none" rotWithShape="1">
            <a:gsLst>
              <a:gs pos="0">
                <a:srgbClr val="F7931F"/>
              </a:gs>
              <a:gs pos="61000">
                <a:srgbClr val="F7931F"/>
              </a:gs>
              <a:gs pos="97000">
                <a:srgbClr val="F7931F">
                  <a:lumMod val="50000"/>
                </a:srgbClr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: Shape 87">
            <a:extLst>
              <a:ext uri="{FF2B5EF4-FFF2-40B4-BE49-F238E27FC236}">
                <a16:creationId xmlns="" xmlns:a16="http://schemas.microsoft.com/office/drawing/2014/main" id="{C10C599E-DC08-4712-BEBD-87FEC6DCA2E4}"/>
              </a:ext>
            </a:extLst>
          </p:cNvPr>
          <p:cNvSpPr/>
          <p:nvPr/>
        </p:nvSpPr>
        <p:spPr>
          <a:xfrm rot="20788111">
            <a:off x="-120775" y="2641722"/>
            <a:ext cx="3630140" cy="601694"/>
          </a:xfrm>
          <a:custGeom>
            <a:avLst/>
            <a:gdLst>
              <a:gd name="connsiteX0" fmla="*/ 4840187 w 4840187"/>
              <a:gd name="connsiteY0" fmla="*/ 0 h 802259"/>
              <a:gd name="connsiteX1" fmla="*/ 4840187 w 4840187"/>
              <a:gd name="connsiteY1" fmla="*/ 802259 h 802259"/>
              <a:gd name="connsiteX2" fmla="*/ 0 w 4840187"/>
              <a:gd name="connsiteY2" fmla="*/ 802259 h 802259"/>
              <a:gd name="connsiteX3" fmla="*/ 193072 w 4840187"/>
              <a:gd name="connsiteY3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0187" h="802259">
                <a:moveTo>
                  <a:pt x="4840187" y="0"/>
                </a:moveTo>
                <a:lnTo>
                  <a:pt x="4840187" y="802259"/>
                </a:lnTo>
                <a:lnTo>
                  <a:pt x="0" y="802259"/>
                </a:lnTo>
                <a:lnTo>
                  <a:pt x="193072" y="0"/>
                </a:lnTo>
                <a:close/>
              </a:path>
            </a:pathLst>
          </a:custGeom>
          <a:gradFill flip="none" rotWithShape="1">
            <a:gsLst>
              <a:gs pos="0">
                <a:srgbClr val="063951"/>
              </a:gs>
              <a:gs pos="61000">
                <a:srgbClr val="063951"/>
              </a:gs>
              <a:gs pos="97000">
                <a:sysClr val="windowText" lastClr="000000"/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Freeform: Shape 83">
            <a:extLst>
              <a:ext uri="{FF2B5EF4-FFF2-40B4-BE49-F238E27FC236}">
                <a16:creationId xmlns="" xmlns:a16="http://schemas.microsoft.com/office/drawing/2014/main" id="{0ABF17AA-5EE5-4BBA-9237-15EE77F5F388}"/>
              </a:ext>
            </a:extLst>
          </p:cNvPr>
          <p:cNvSpPr/>
          <p:nvPr/>
        </p:nvSpPr>
        <p:spPr>
          <a:xfrm rot="20788111">
            <a:off x="-155900" y="3750151"/>
            <a:ext cx="6160800" cy="601694"/>
          </a:xfrm>
          <a:custGeom>
            <a:avLst/>
            <a:gdLst>
              <a:gd name="connsiteX0" fmla="*/ 8214400 w 8214400"/>
              <a:gd name="connsiteY0" fmla="*/ 0 h 802259"/>
              <a:gd name="connsiteX1" fmla="*/ 8214400 w 8214400"/>
              <a:gd name="connsiteY1" fmla="*/ 802259 h 802259"/>
              <a:gd name="connsiteX2" fmla="*/ 0 w 8214400"/>
              <a:gd name="connsiteY2" fmla="*/ 802259 h 802259"/>
              <a:gd name="connsiteX3" fmla="*/ 193072 w 8214400"/>
              <a:gd name="connsiteY3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14400" h="802259">
                <a:moveTo>
                  <a:pt x="8214400" y="0"/>
                </a:moveTo>
                <a:lnTo>
                  <a:pt x="8214400" y="802259"/>
                </a:lnTo>
                <a:lnTo>
                  <a:pt x="0" y="802259"/>
                </a:lnTo>
                <a:lnTo>
                  <a:pt x="193072" y="0"/>
                </a:lnTo>
                <a:close/>
              </a:path>
            </a:pathLst>
          </a:custGeom>
          <a:gradFill flip="none" rotWithShape="1">
            <a:gsLst>
              <a:gs pos="0">
                <a:srgbClr val="4CC1EF"/>
              </a:gs>
              <a:gs pos="61000">
                <a:srgbClr val="4CC1EF"/>
              </a:gs>
              <a:gs pos="97000">
                <a:srgbClr val="4CC1EF">
                  <a:lumMod val="50000"/>
                </a:srgbClr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EE283959-CB21-49AF-874D-9FA8D1CD609A}"/>
              </a:ext>
            </a:extLst>
          </p:cNvPr>
          <p:cNvSpPr/>
          <p:nvPr/>
        </p:nvSpPr>
        <p:spPr>
          <a:xfrm>
            <a:off x="2253924" y="1522679"/>
            <a:ext cx="1495753" cy="1136073"/>
          </a:xfrm>
          <a:prstGeom prst="rect">
            <a:avLst/>
          </a:pr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FD27001D-A00E-4256-822E-814C8955F872}"/>
              </a:ext>
            </a:extLst>
          </p:cNvPr>
          <p:cNvSpPr/>
          <p:nvPr/>
        </p:nvSpPr>
        <p:spPr>
          <a:xfrm>
            <a:off x="3484131" y="1930148"/>
            <a:ext cx="1495753" cy="1136073"/>
          </a:xfrm>
          <a:prstGeom prst="rect">
            <a:avLst/>
          </a:prstGeom>
          <a:solidFill>
            <a:srgbClr val="F7931F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="" xmlns:a16="http://schemas.microsoft.com/office/drawing/2014/main" id="{BA18C797-F8B0-448C-AD65-7EDBEC3728A5}"/>
              </a:ext>
            </a:extLst>
          </p:cNvPr>
          <p:cNvSpPr/>
          <p:nvPr/>
        </p:nvSpPr>
        <p:spPr>
          <a:xfrm>
            <a:off x="4714337" y="2337618"/>
            <a:ext cx="1495753" cy="1136073"/>
          </a:xfrm>
          <a:prstGeom prst="rect">
            <a:avLst/>
          </a:prstGeom>
          <a:solidFill>
            <a:srgbClr val="4CC1EF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="" xmlns:a16="http://schemas.microsoft.com/office/drawing/2014/main" id="{441C9DF1-4A6D-4B46-AAEB-F1EF889C5B7A}"/>
              </a:ext>
            </a:extLst>
          </p:cNvPr>
          <p:cNvSpPr/>
          <p:nvPr/>
        </p:nvSpPr>
        <p:spPr>
          <a:xfrm rot="20760000">
            <a:off x="554531" y="3369911"/>
            <a:ext cx="34497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200" dirty="0" smtClean="0"/>
              <a:t>Maximize benefits of RPA initiatives</a:t>
            </a:r>
            <a:endParaRPr lang="en-US" sz="1350" kern="1200" noProof="1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C9526540-BFD7-4BA9-AF87-8585B585FB20}"/>
              </a:ext>
            </a:extLst>
          </p:cNvPr>
          <p:cNvSpPr/>
          <p:nvPr/>
        </p:nvSpPr>
        <p:spPr>
          <a:xfrm rot="20760000">
            <a:off x="1759244" y="3679081"/>
            <a:ext cx="34497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200" dirty="0"/>
              <a:t>Comply with the </a:t>
            </a:r>
            <a:r>
              <a:rPr lang="en-US" sz="1200" dirty="0" err="1"/>
              <a:t>CoE</a:t>
            </a:r>
            <a:r>
              <a:rPr lang="en-US" sz="1200" dirty="0"/>
              <a:t> methodology when </a:t>
            </a:r>
            <a:r>
              <a:rPr lang="en-US" sz="1200" dirty="0" smtClean="0"/>
              <a:t>managing demand for </a:t>
            </a:r>
            <a:r>
              <a:rPr lang="en-US" sz="1200" dirty="0"/>
              <a:t>RPA</a:t>
            </a:r>
            <a:endParaRPr lang="en-US" sz="1350" kern="1200" noProof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="" xmlns:a16="http://schemas.microsoft.com/office/drawing/2014/main" id="{8DB3A04B-89D2-4A55-A5EF-B69229DBAAE3}"/>
              </a:ext>
            </a:extLst>
          </p:cNvPr>
          <p:cNvSpPr/>
          <p:nvPr/>
        </p:nvSpPr>
        <p:spPr>
          <a:xfrm rot="20760000">
            <a:off x="15412" y="2755357"/>
            <a:ext cx="28740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350" kern="1200" noProof="1" smtClean="0">
                <a:solidFill>
                  <a:prstClr val="white"/>
                </a:solidFill>
                <a:latin typeface="Calibri" panose="020F0502020204030204"/>
                <a:ea typeface="+mn-ea"/>
              </a:rPr>
              <a:t>RPA </a:t>
            </a:r>
            <a:r>
              <a:rPr lang="en-US" sz="1350" kern="1200" noProof="1">
                <a:solidFill>
                  <a:prstClr val="white"/>
                </a:solidFill>
                <a:latin typeface="Calibri" panose="020F0502020204030204"/>
                <a:ea typeface="+mn-ea"/>
              </a:rPr>
              <a:t>Agile teams will be aware of the RPA CoE Governance Model</a:t>
            </a:r>
          </a:p>
        </p:txBody>
      </p:sp>
      <p:sp>
        <p:nvSpPr>
          <p:cNvPr id="112" name="Google Shape;59;p14"/>
          <p:cNvSpPr txBox="1">
            <a:spLocks noGrp="1"/>
          </p:cNvSpPr>
          <p:nvPr>
            <p:ph type="title"/>
          </p:nvPr>
        </p:nvSpPr>
        <p:spPr>
          <a:xfrm>
            <a:off x="311700" y="311463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JECTIVES</a:t>
            </a:r>
            <a:endParaRPr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8" name="Freeform: Shape 93">
            <a:extLst>
              <a:ext uri="{FF2B5EF4-FFF2-40B4-BE49-F238E27FC236}">
                <a16:creationId xmlns="" xmlns:a16="http://schemas.microsoft.com/office/drawing/2014/main" id="{695697B6-D46E-482E-86E1-D454D25DBA1E}"/>
              </a:ext>
            </a:extLst>
          </p:cNvPr>
          <p:cNvSpPr/>
          <p:nvPr/>
        </p:nvSpPr>
        <p:spPr>
          <a:xfrm rot="20788111">
            <a:off x="-31212" y="4288189"/>
            <a:ext cx="7281878" cy="601694"/>
          </a:xfrm>
          <a:custGeom>
            <a:avLst/>
            <a:gdLst>
              <a:gd name="connsiteX0" fmla="*/ 9709170 w 9709170"/>
              <a:gd name="connsiteY0" fmla="*/ 0 h 802259"/>
              <a:gd name="connsiteX1" fmla="*/ 9709170 w 9709170"/>
              <a:gd name="connsiteY1" fmla="*/ 802259 h 802259"/>
              <a:gd name="connsiteX2" fmla="*/ 3320869 w 9709170"/>
              <a:gd name="connsiteY2" fmla="*/ 802259 h 802259"/>
              <a:gd name="connsiteX3" fmla="*/ 0 w 9709170"/>
              <a:gd name="connsiteY3" fmla="*/ 3059 h 802259"/>
              <a:gd name="connsiteX4" fmla="*/ 736 w 9709170"/>
              <a:gd name="connsiteY4" fmla="*/ 0 h 802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09170" h="802259">
                <a:moveTo>
                  <a:pt x="9709170" y="0"/>
                </a:moveTo>
                <a:lnTo>
                  <a:pt x="9709170" y="802259"/>
                </a:lnTo>
                <a:lnTo>
                  <a:pt x="3320869" y="802259"/>
                </a:lnTo>
                <a:lnTo>
                  <a:pt x="0" y="3059"/>
                </a:lnTo>
                <a:lnTo>
                  <a:pt x="736" y="0"/>
                </a:lnTo>
                <a:close/>
              </a:path>
            </a:pathLst>
          </a:custGeom>
          <a:gradFill flip="none" rotWithShape="1">
            <a:gsLst>
              <a:gs pos="0">
                <a:srgbClr val="A2B969"/>
              </a:gs>
              <a:gs pos="61000">
                <a:srgbClr val="A2B969"/>
              </a:gs>
              <a:gs pos="97000">
                <a:srgbClr val="A2B969">
                  <a:lumMod val="50000"/>
                </a:srgbClr>
              </a:gs>
            </a:gsLst>
            <a:lin ang="18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="" xmlns:a16="http://schemas.microsoft.com/office/drawing/2014/main" id="{081E9BA3-2B63-4835-92F5-DB5A63C38709}"/>
              </a:ext>
            </a:extLst>
          </p:cNvPr>
          <p:cNvSpPr/>
          <p:nvPr/>
        </p:nvSpPr>
        <p:spPr>
          <a:xfrm>
            <a:off x="5944543" y="2745088"/>
            <a:ext cx="1495753" cy="1136073"/>
          </a:xfrm>
          <a:prstGeom prst="rect">
            <a:avLst/>
          </a:prstGeom>
          <a:solidFill>
            <a:srgbClr val="A2B969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isometricLeftDown">
              <a:rot lat="1200001" lon="2700000" rev="0"/>
            </a:camera>
            <a:lightRig rig="threePt" dir="t"/>
          </a:scene3d>
          <a:sp3d extrusionH="51435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4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="" xmlns:a16="http://schemas.microsoft.com/office/drawing/2014/main" id="{A2175461-7E20-4F52-987A-DED967158E4E}"/>
              </a:ext>
            </a:extLst>
          </p:cNvPr>
          <p:cNvSpPr/>
          <p:nvPr/>
        </p:nvSpPr>
        <p:spPr>
          <a:xfrm rot="20760000">
            <a:off x="2827652" y="4094850"/>
            <a:ext cx="34497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en-US" sz="1350" kern="1200" noProof="1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Prepare </a:t>
            </a:r>
            <a:r>
              <a:rPr lang="en-US" sz="1350" kern="1200" noProof="1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necessary documents for </a:t>
            </a:r>
            <a:r>
              <a:rPr lang="en-US" sz="1350" kern="1200" noProof="1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the Demand Management Phase</a:t>
            </a:r>
            <a:endParaRPr lang="en-US" sz="1350" kern="1200" noProof="1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740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83908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2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39649" y="3319501"/>
            <a:ext cx="929769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ll in the complexity level of the selected processe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023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873233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2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39649" y="3319501"/>
            <a:ext cx="929769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is should have been computed using the complexity calculator and matched to the complexity matrix table in the “prioritization criteria weights” shee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904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873233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2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923314" y="3319501"/>
            <a:ext cx="960504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ll in the batch number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1987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031870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2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923314" y="3319501"/>
            <a:ext cx="960504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is should be based on the batching system set by either the </a:t>
            </a:r>
            <a:r>
              <a:rPr lang="en-US" dirty="0" err="1" smtClean="0">
                <a:solidFill>
                  <a:schemeClr val="bg1"/>
                </a:solidFill>
              </a:rPr>
              <a:t>CoE</a:t>
            </a:r>
            <a:r>
              <a:rPr lang="en-US" dirty="0" smtClean="0">
                <a:solidFill>
                  <a:schemeClr val="bg1"/>
                </a:solidFill>
              </a:rPr>
              <a:t> or the business un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t is suggested to have a monthly cut-off to determine the batch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is can be changed as the </a:t>
            </a:r>
            <a:r>
              <a:rPr lang="en-US" dirty="0" err="1" smtClean="0">
                <a:solidFill>
                  <a:schemeClr val="bg1"/>
                </a:solidFill>
              </a:rPr>
              <a:t>CoE</a:t>
            </a:r>
            <a:r>
              <a:rPr lang="en-US" dirty="0" smtClean="0">
                <a:solidFill>
                  <a:schemeClr val="bg1"/>
                </a:solidFill>
              </a:rPr>
              <a:t> mature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7081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251980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3.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B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2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60.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6.6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845393" y="3319501"/>
            <a:ext cx="1121873" cy="77608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e process score will be compu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is should be the basis for priorit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Process B being the first priority followed by process A and process C to be the least priority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8610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044164"/>
              </p:ext>
            </p:extLst>
          </p:nvPr>
        </p:nvGraphicFramePr>
        <p:xfrm>
          <a:off x="311699" y="2621336"/>
          <a:ext cx="8655568" cy="2227289"/>
        </p:xfrm>
        <a:graphic>
          <a:graphicData uri="http://schemas.openxmlformats.org/drawingml/2006/table">
            <a:tbl>
              <a:tblPr/>
              <a:tblGrid>
                <a:gridCol w="1363420"/>
                <a:gridCol w="1221762"/>
                <a:gridCol w="1006608"/>
                <a:gridCol w="1021977"/>
                <a:gridCol w="1129552"/>
                <a:gridCol w="896843"/>
                <a:gridCol w="920947"/>
                <a:gridCol w="1094459"/>
              </a:tblGrid>
              <a:tr h="2586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Nam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onomic Impact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lexity Level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number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cess Score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</a:tr>
              <a:tr h="468606"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Savings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 Avoidance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1" i="0" u="none" strike="noStrike">
                          <a:effectLst/>
                          <a:latin typeface="Calibri" panose="020F0502020204030204" pitchFamily="34" charset="0"/>
                        </a:rPr>
                        <a:t>Risks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PH"/>
                    </a:p>
                  </a:txBody>
                  <a:tcPr/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A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0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3.3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PH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PH" sz="9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Process C</a:t>
                      </a:r>
                      <a:endParaRPr lang="en-PH" sz="9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150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>
                          <a:effectLst/>
                          <a:latin typeface="Calibri" panose="020F0502020204030204" pitchFamily="34" charset="0"/>
                        </a:rPr>
                        <a:t> PHP                  -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PHP      75,000.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6.6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009"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H" sz="9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141" marR="5141" marT="51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ool</a:t>
            </a:r>
            <a:endParaRPr lang="en-PH" sz="20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1699" y="3565392"/>
            <a:ext cx="8655567" cy="30736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7" name="Rectangle 6"/>
          <p:cNvSpPr/>
          <p:nvPr/>
        </p:nvSpPr>
        <p:spPr>
          <a:xfrm>
            <a:off x="503303" y="749991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elete the processes that have already started in the next phase (PDD creation or Development) before starting another demand management cycl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6153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040413"/>
            <a:ext cx="6858000" cy="572625"/>
          </a:xfrm>
          <a:solidFill>
            <a:srgbClr val="0070C0"/>
          </a:solidFill>
        </p:spPr>
        <p:txBody>
          <a:bodyPr/>
          <a:lstStyle/>
          <a:p>
            <a:pPr algn="ctr"/>
            <a:r>
              <a:rPr lang="en-PH" sz="2700" dirty="0" smtClean="0"/>
              <a:t>PROCESS EXCEPTION TEMPLATE</a:t>
            </a:r>
            <a:endParaRPr lang="en-PH" sz="2700" dirty="0"/>
          </a:p>
        </p:txBody>
      </p:sp>
      <p:pic>
        <p:nvPicPr>
          <p:cNvPr id="30722" name="Picture 2" descr="Image result for exception clipar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196" y="2853421"/>
            <a:ext cx="2217804" cy="2217804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30724" name="Picture 4" descr="Image result for document clipart"/>
          <p:cNvPicPr>
            <a:picLocks noChangeAspect="1" noChangeArrowheads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95921"/>
            <a:ext cx="1823037" cy="181302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70781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emplate</a:t>
            </a:r>
            <a:endParaRPr lang="en-PH" sz="20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103" y="1293918"/>
            <a:ext cx="5500687" cy="377414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03303" y="749991"/>
            <a:ext cx="8033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ll in the necessary information to give the approvers an idea on why the process has to be prioritize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38103" y="1582911"/>
            <a:ext cx="5500687" cy="15905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16" name="Rectangle 15"/>
          <p:cNvSpPr/>
          <p:nvPr/>
        </p:nvSpPr>
        <p:spPr>
          <a:xfrm>
            <a:off x="1338103" y="4602736"/>
            <a:ext cx="5500687" cy="4503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638689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emplate</a:t>
            </a:r>
            <a:endParaRPr lang="en-PH" sz="20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103" y="1293918"/>
            <a:ext cx="5500687" cy="377414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03303" y="749991"/>
            <a:ext cx="803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pprovers will vary depending on which stage of demand management we’re i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38103" y="3180989"/>
            <a:ext cx="5500687" cy="11758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427027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6;p15"/>
          <p:cNvSpPr txBox="1">
            <a:spLocks/>
          </p:cNvSpPr>
          <p:nvPr/>
        </p:nvSpPr>
        <p:spPr>
          <a:xfrm>
            <a:off x="311700" y="42903"/>
            <a:ext cx="8520600" cy="5296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14300" indent="0">
              <a:buNone/>
            </a:pPr>
            <a:r>
              <a:rPr lang="en-PH" sz="2000" b="1" dirty="0" smtClean="0">
                <a:solidFill>
                  <a:schemeClr val="bg1"/>
                </a:solidFill>
              </a:rPr>
              <a:t>Using the template</a:t>
            </a:r>
            <a:endParaRPr lang="en-PH" sz="20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57" y="2093058"/>
            <a:ext cx="4105743" cy="281704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03303" y="749991"/>
            <a:ext cx="803365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or the PDD prioritization - Product Owner, Head of Business Group and Head of </a:t>
            </a:r>
            <a:r>
              <a:rPr lang="en-US" dirty="0" err="1" smtClean="0">
                <a:solidFill>
                  <a:schemeClr val="bg1"/>
                </a:solidFill>
              </a:rPr>
              <a:t>CoE</a:t>
            </a:r>
            <a:r>
              <a:rPr lang="en-US" dirty="0" smtClean="0">
                <a:solidFill>
                  <a:schemeClr val="bg1"/>
                </a:solidFill>
              </a:rPr>
              <a:t> should be the appro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or the development prioritization – Head of Business Group, Head of </a:t>
            </a:r>
            <a:r>
              <a:rPr lang="en-US" dirty="0" err="1" smtClean="0">
                <a:solidFill>
                  <a:schemeClr val="bg1"/>
                </a:solidFill>
              </a:rPr>
              <a:t>CoE</a:t>
            </a:r>
            <a:r>
              <a:rPr lang="en-US" dirty="0" smtClean="0">
                <a:solidFill>
                  <a:schemeClr val="bg1"/>
                </a:solidFill>
              </a:rPr>
              <a:t> and Senior Leadership Team should be the approv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66257" y="3565191"/>
            <a:ext cx="4105743" cy="7916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7998" y="2093059"/>
            <a:ext cx="4096792" cy="282152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709047" y="3565191"/>
            <a:ext cx="4105743" cy="7916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3472764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adFill>
              <a:gsLst>
                <a:gs pos="0">
                  <a:srgbClr val="3F6614"/>
                </a:gs>
                <a:gs pos="50000">
                  <a:srgbClr val="5C941D"/>
                </a:gs>
                <a:gs pos="100000">
                  <a:srgbClr val="6EB22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527E21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RSE OUTLINE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gradFill>
            <a:gsLst>
              <a:gs pos="0">
                <a:schemeClr val="accent4">
                  <a:lumMod val="75000"/>
                </a:schemeClr>
              </a:gs>
              <a:gs pos="50000">
                <a:schemeClr val="accent4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50000">
                <a:schemeClr val="accent4"/>
              </a:gs>
              <a:gs pos="100000">
                <a:schemeClr val="accent4"/>
              </a:gs>
            </a:gsLst>
            <a:lin ang="10800000" scaled="0"/>
          </a:gra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accent4">
              <a:lumMod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3578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bg1">
              <a:lumMod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RSE OUTLINE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bg1">
              <a:lumMod val="50000"/>
            </a:schemeClr>
          </a:solidFill>
        </p:grpSpPr>
        <p:sp>
          <p:nvSpPr>
            <p:cNvPr id="47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9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51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0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53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gradFill>
            <a:gsLst>
              <a:gs pos="0">
                <a:schemeClr val="accent4">
                  <a:lumMod val="75000"/>
                </a:schemeClr>
              </a:gs>
              <a:gs pos="50000">
                <a:schemeClr val="accent4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50000">
                <a:schemeClr val="accent4"/>
              </a:gs>
              <a:gs pos="100000">
                <a:schemeClr val="accent4"/>
              </a:gs>
            </a:gsLst>
            <a:lin ang="10800000" scaled="0"/>
          </a:gra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6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accent4">
              <a:lumMod val="50000"/>
            </a:schemeClr>
          </a:solidFill>
        </p:grpSpPr>
        <p:sp>
          <p:nvSpPr>
            <p:cNvPr id="58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59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60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61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61767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adFill>
              <a:gsLst>
                <a:gs pos="0">
                  <a:srgbClr val="9E0000"/>
                </a:gs>
                <a:gs pos="50000">
                  <a:srgbClr val="E40000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BF000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RSE OUTLINE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662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54"/>
          <p:cNvSpPr/>
          <p:nvPr/>
        </p:nvSpPr>
        <p:spPr>
          <a:xfrm>
            <a:off x="1530532" y="1965107"/>
            <a:ext cx="7065000" cy="14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54"/>
          <p:cNvSpPr/>
          <p:nvPr/>
        </p:nvSpPr>
        <p:spPr>
          <a:xfrm>
            <a:off x="1501361" y="1968945"/>
            <a:ext cx="7064903" cy="1427106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127"/>
                </a:moveTo>
                <a:cubicBezTo>
                  <a:pt x="1882" y="271"/>
                  <a:pt x="1882" y="271"/>
                  <a:pt x="1882" y="271"/>
                </a:cubicBezTo>
                <a:cubicBezTo>
                  <a:pt x="1882" y="292"/>
                  <a:pt x="1866" y="309"/>
                  <a:pt x="1846" y="309"/>
                </a:cubicBezTo>
                <a:cubicBezTo>
                  <a:pt x="1687" y="309"/>
                  <a:pt x="1687" y="309"/>
                  <a:pt x="1687" y="309"/>
                </a:cubicBezTo>
                <a:cubicBezTo>
                  <a:pt x="1667" y="309"/>
                  <a:pt x="1651" y="292"/>
                  <a:pt x="1651" y="271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7"/>
                  <a:pt x="1651" y="127"/>
                  <a:pt x="1651" y="127"/>
                </a:cubicBezTo>
                <a:cubicBezTo>
                  <a:pt x="1651" y="125"/>
                  <a:pt x="1651" y="125"/>
                  <a:pt x="1651" y="125"/>
                </a:cubicBezTo>
                <a:cubicBezTo>
                  <a:pt x="1651" y="56"/>
                  <a:pt x="1598" y="0"/>
                  <a:pt x="1532" y="0"/>
                </a:cubicBezTo>
                <a:cubicBezTo>
                  <a:pt x="1374" y="0"/>
                  <a:pt x="1374" y="0"/>
                  <a:pt x="1374" y="0"/>
                </a:cubicBezTo>
                <a:cubicBezTo>
                  <a:pt x="1308" y="0"/>
                  <a:pt x="1255" y="56"/>
                  <a:pt x="1255" y="125"/>
                </a:cubicBezTo>
                <a:cubicBezTo>
                  <a:pt x="1255" y="127"/>
                  <a:pt x="1255" y="127"/>
                  <a:pt x="1255" y="127"/>
                </a:cubicBezTo>
                <a:cubicBezTo>
                  <a:pt x="1254" y="127"/>
                  <a:pt x="1254" y="127"/>
                  <a:pt x="1254" y="127"/>
                </a:cubicBezTo>
                <a:cubicBezTo>
                  <a:pt x="1254" y="271"/>
                  <a:pt x="1254" y="271"/>
                  <a:pt x="1254" y="271"/>
                </a:cubicBezTo>
                <a:cubicBezTo>
                  <a:pt x="1254" y="292"/>
                  <a:pt x="1238" y="309"/>
                  <a:pt x="1218" y="309"/>
                </a:cubicBezTo>
                <a:cubicBezTo>
                  <a:pt x="1060" y="309"/>
                  <a:pt x="1060" y="309"/>
                  <a:pt x="1060" y="309"/>
                </a:cubicBezTo>
                <a:cubicBezTo>
                  <a:pt x="1040" y="309"/>
                  <a:pt x="1023" y="292"/>
                  <a:pt x="1023" y="271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5"/>
                  <a:pt x="1023" y="125"/>
                  <a:pt x="1023" y="125"/>
                </a:cubicBezTo>
                <a:cubicBezTo>
                  <a:pt x="1023" y="56"/>
                  <a:pt x="970" y="0"/>
                  <a:pt x="904" y="0"/>
                </a:cubicBezTo>
                <a:cubicBezTo>
                  <a:pt x="746" y="0"/>
                  <a:pt x="746" y="0"/>
                  <a:pt x="746" y="0"/>
                </a:cubicBezTo>
                <a:cubicBezTo>
                  <a:pt x="680" y="0"/>
                  <a:pt x="627" y="56"/>
                  <a:pt x="627" y="125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68"/>
                  <a:pt x="627" y="268"/>
                  <a:pt x="627" y="268"/>
                </a:cubicBezTo>
                <a:cubicBezTo>
                  <a:pt x="627" y="271"/>
                  <a:pt x="627" y="271"/>
                  <a:pt x="627" y="271"/>
                </a:cubicBezTo>
                <a:cubicBezTo>
                  <a:pt x="627" y="292"/>
                  <a:pt x="611" y="309"/>
                  <a:pt x="591" y="309"/>
                </a:cubicBezTo>
                <a:cubicBezTo>
                  <a:pt x="433" y="309"/>
                  <a:pt x="433" y="309"/>
                  <a:pt x="433" y="309"/>
                </a:cubicBezTo>
                <a:cubicBezTo>
                  <a:pt x="413" y="309"/>
                  <a:pt x="396" y="292"/>
                  <a:pt x="396" y="271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396" y="125"/>
                  <a:pt x="396" y="125"/>
                  <a:pt x="396" y="125"/>
                </a:cubicBezTo>
                <a:cubicBezTo>
                  <a:pt x="396" y="56"/>
                  <a:pt x="343" y="0"/>
                  <a:pt x="277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53" y="0"/>
                  <a:pt x="0" y="56"/>
                  <a:pt x="0" y="125"/>
                </a:cubicBezTo>
                <a:cubicBezTo>
                  <a:pt x="0" y="268"/>
                  <a:pt x="0" y="268"/>
                  <a:pt x="0" y="268"/>
                </a:cubicBezTo>
                <a:cubicBezTo>
                  <a:pt x="83" y="268"/>
                  <a:pt x="83" y="268"/>
                  <a:pt x="83" y="268"/>
                </a:cubicBezTo>
                <a:cubicBezTo>
                  <a:pt x="83" y="125"/>
                  <a:pt x="83" y="125"/>
                  <a:pt x="83" y="125"/>
                </a:cubicBezTo>
                <a:cubicBezTo>
                  <a:pt x="83" y="104"/>
                  <a:pt x="99" y="87"/>
                  <a:pt x="119" y="87"/>
                </a:cubicBezTo>
                <a:cubicBezTo>
                  <a:pt x="277" y="87"/>
                  <a:pt x="277" y="87"/>
                  <a:pt x="277" y="87"/>
                </a:cubicBezTo>
                <a:cubicBezTo>
                  <a:pt x="297" y="87"/>
                  <a:pt x="314" y="104"/>
                  <a:pt x="314" y="125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68"/>
                  <a:pt x="314" y="268"/>
                  <a:pt x="314" y="268"/>
                </a:cubicBezTo>
                <a:cubicBezTo>
                  <a:pt x="314" y="271"/>
                  <a:pt x="314" y="271"/>
                  <a:pt x="314" y="271"/>
                </a:cubicBezTo>
                <a:cubicBezTo>
                  <a:pt x="314" y="340"/>
                  <a:pt x="367" y="395"/>
                  <a:pt x="433" y="395"/>
                </a:cubicBezTo>
                <a:cubicBezTo>
                  <a:pt x="591" y="395"/>
                  <a:pt x="591" y="395"/>
                  <a:pt x="591" y="395"/>
                </a:cubicBezTo>
                <a:cubicBezTo>
                  <a:pt x="657" y="395"/>
                  <a:pt x="710" y="340"/>
                  <a:pt x="710" y="271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7"/>
                  <a:pt x="710" y="127"/>
                  <a:pt x="710" y="127"/>
                </a:cubicBezTo>
                <a:cubicBezTo>
                  <a:pt x="710" y="125"/>
                  <a:pt x="710" y="125"/>
                  <a:pt x="710" y="125"/>
                </a:cubicBezTo>
                <a:cubicBezTo>
                  <a:pt x="710" y="104"/>
                  <a:pt x="726" y="87"/>
                  <a:pt x="746" y="87"/>
                </a:cubicBezTo>
                <a:cubicBezTo>
                  <a:pt x="904" y="87"/>
                  <a:pt x="904" y="87"/>
                  <a:pt x="904" y="87"/>
                </a:cubicBezTo>
                <a:cubicBezTo>
                  <a:pt x="924" y="87"/>
                  <a:pt x="941" y="104"/>
                  <a:pt x="941" y="125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68"/>
                  <a:pt x="941" y="268"/>
                  <a:pt x="941" y="268"/>
                </a:cubicBezTo>
                <a:cubicBezTo>
                  <a:pt x="941" y="271"/>
                  <a:pt x="941" y="271"/>
                  <a:pt x="941" y="271"/>
                </a:cubicBezTo>
                <a:cubicBezTo>
                  <a:pt x="941" y="340"/>
                  <a:pt x="994" y="395"/>
                  <a:pt x="1060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84" y="395"/>
                  <a:pt x="1337" y="340"/>
                  <a:pt x="1337" y="271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268"/>
                  <a:pt x="1337" y="268"/>
                  <a:pt x="1337" y="268"/>
                </a:cubicBezTo>
                <a:cubicBezTo>
                  <a:pt x="1337" y="125"/>
                  <a:pt x="1337" y="125"/>
                  <a:pt x="1337" y="125"/>
                </a:cubicBezTo>
                <a:cubicBezTo>
                  <a:pt x="1337" y="104"/>
                  <a:pt x="1354" y="87"/>
                  <a:pt x="1374" y="87"/>
                </a:cubicBezTo>
                <a:cubicBezTo>
                  <a:pt x="1532" y="87"/>
                  <a:pt x="1532" y="87"/>
                  <a:pt x="1532" y="87"/>
                </a:cubicBezTo>
                <a:cubicBezTo>
                  <a:pt x="1552" y="87"/>
                  <a:pt x="1568" y="104"/>
                  <a:pt x="1568" y="125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68"/>
                  <a:pt x="1568" y="268"/>
                  <a:pt x="1568" y="268"/>
                </a:cubicBezTo>
                <a:cubicBezTo>
                  <a:pt x="1568" y="271"/>
                  <a:pt x="1568" y="271"/>
                  <a:pt x="1568" y="271"/>
                </a:cubicBezTo>
                <a:cubicBezTo>
                  <a:pt x="1568" y="340"/>
                  <a:pt x="1622" y="395"/>
                  <a:pt x="1687" y="395"/>
                </a:cubicBezTo>
                <a:cubicBezTo>
                  <a:pt x="1846" y="395"/>
                  <a:pt x="1846" y="395"/>
                  <a:pt x="1846" y="395"/>
                </a:cubicBezTo>
                <a:cubicBezTo>
                  <a:pt x="1911" y="395"/>
                  <a:pt x="1965" y="340"/>
                  <a:pt x="1965" y="271"/>
                </a:cubicBezTo>
                <a:cubicBezTo>
                  <a:pt x="1965" y="127"/>
                  <a:pt x="1965" y="127"/>
                  <a:pt x="1965" y="127"/>
                </a:cubicBezTo>
                <a:lnTo>
                  <a:pt x="1882" y="127"/>
                </a:lnTo>
                <a:close/>
              </a:path>
            </a:pathLst>
          </a:custGeom>
          <a:solidFill>
            <a:srgbClr val="D8D8D8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" name="Google Shape;503;p54"/>
          <p:cNvSpPr/>
          <p:nvPr/>
        </p:nvSpPr>
        <p:spPr>
          <a:xfrm>
            <a:off x="1501361" y="1968945"/>
            <a:ext cx="7064903" cy="1427106"/>
          </a:xfrm>
          <a:custGeom>
            <a:avLst/>
            <a:gdLst/>
            <a:ahLst/>
            <a:cxnLst/>
            <a:rect l="l" t="t" r="r" b="b"/>
            <a:pathLst>
              <a:path w="1965" h="395" extrusionOk="0">
                <a:moveTo>
                  <a:pt x="1882" y="268"/>
                </a:moveTo>
                <a:cubicBezTo>
                  <a:pt x="1882" y="125"/>
                  <a:pt x="1882" y="125"/>
                  <a:pt x="1882" y="125"/>
                </a:cubicBezTo>
                <a:cubicBezTo>
                  <a:pt x="1882" y="104"/>
                  <a:pt x="1866" y="87"/>
                  <a:pt x="1846" y="87"/>
                </a:cubicBezTo>
                <a:cubicBezTo>
                  <a:pt x="1687" y="87"/>
                  <a:pt x="1687" y="87"/>
                  <a:pt x="1687" y="87"/>
                </a:cubicBezTo>
                <a:cubicBezTo>
                  <a:pt x="1667" y="87"/>
                  <a:pt x="1651" y="104"/>
                  <a:pt x="1651" y="125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68"/>
                  <a:pt x="1651" y="268"/>
                  <a:pt x="1651" y="268"/>
                </a:cubicBezTo>
                <a:cubicBezTo>
                  <a:pt x="1651" y="271"/>
                  <a:pt x="1651" y="271"/>
                  <a:pt x="1651" y="271"/>
                </a:cubicBezTo>
                <a:cubicBezTo>
                  <a:pt x="1651" y="340"/>
                  <a:pt x="1598" y="395"/>
                  <a:pt x="1532" y="395"/>
                </a:cubicBezTo>
                <a:cubicBezTo>
                  <a:pt x="1374" y="395"/>
                  <a:pt x="1374" y="395"/>
                  <a:pt x="1374" y="395"/>
                </a:cubicBezTo>
                <a:cubicBezTo>
                  <a:pt x="1308" y="395"/>
                  <a:pt x="1255" y="340"/>
                  <a:pt x="1255" y="271"/>
                </a:cubicBezTo>
                <a:cubicBezTo>
                  <a:pt x="1255" y="268"/>
                  <a:pt x="1255" y="268"/>
                  <a:pt x="1255" y="268"/>
                </a:cubicBezTo>
                <a:cubicBezTo>
                  <a:pt x="1254" y="268"/>
                  <a:pt x="1254" y="268"/>
                  <a:pt x="1254" y="268"/>
                </a:cubicBezTo>
                <a:cubicBezTo>
                  <a:pt x="1254" y="125"/>
                  <a:pt x="1254" y="125"/>
                  <a:pt x="1254" y="125"/>
                </a:cubicBezTo>
                <a:cubicBezTo>
                  <a:pt x="1254" y="104"/>
                  <a:pt x="1238" y="87"/>
                  <a:pt x="1218" y="87"/>
                </a:cubicBezTo>
                <a:cubicBezTo>
                  <a:pt x="1060" y="87"/>
                  <a:pt x="1060" y="87"/>
                  <a:pt x="1060" y="87"/>
                </a:cubicBezTo>
                <a:cubicBezTo>
                  <a:pt x="1040" y="87"/>
                  <a:pt x="1023" y="104"/>
                  <a:pt x="1023" y="125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68"/>
                  <a:pt x="1023" y="268"/>
                  <a:pt x="1023" y="268"/>
                </a:cubicBezTo>
                <a:cubicBezTo>
                  <a:pt x="1023" y="271"/>
                  <a:pt x="1023" y="271"/>
                  <a:pt x="1023" y="271"/>
                </a:cubicBezTo>
                <a:cubicBezTo>
                  <a:pt x="1023" y="340"/>
                  <a:pt x="970" y="395"/>
                  <a:pt x="904" y="395"/>
                </a:cubicBezTo>
                <a:cubicBezTo>
                  <a:pt x="746" y="395"/>
                  <a:pt x="746" y="395"/>
                  <a:pt x="746" y="395"/>
                </a:cubicBezTo>
                <a:cubicBezTo>
                  <a:pt x="680" y="395"/>
                  <a:pt x="627" y="340"/>
                  <a:pt x="627" y="271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7"/>
                  <a:pt x="627" y="127"/>
                  <a:pt x="627" y="127"/>
                </a:cubicBezTo>
                <a:cubicBezTo>
                  <a:pt x="627" y="125"/>
                  <a:pt x="627" y="125"/>
                  <a:pt x="627" y="125"/>
                </a:cubicBezTo>
                <a:cubicBezTo>
                  <a:pt x="627" y="104"/>
                  <a:pt x="611" y="87"/>
                  <a:pt x="591" y="87"/>
                </a:cubicBezTo>
                <a:cubicBezTo>
                  <a:pt x="433" y="87"/>
                  <a:pt x="433" y="87"/>
                  <a:pt x="433" y="87"/>
                </a:cubicBezTo>
                <a:cubicBezTo>
                  <a:pt x="413" y="87"/>
                  <a:pt x="396" y="104"/>
                  <a:pt x="396" y="125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68"/>
                  <a:pt x="396" y="268"/>
                  <a:pt x="396" y="268"/>
                </a:cubicBezTo>
                <a:cubicBezTo>
                  <a:pt x="396" y="271"/>
                  <a:pt x="396" y="271"/>
                  <a:pt x="396" y="271"/>
                </a:cubicBezTo>
                <a:cubicBezTo>
                  <a:pt x="396" y="340"/>
                  <a:pt x="343" y="395"/>
                  <a:pt x="277" y="395"/>
                </a:cubicBezTo>
                <a:cubicBezTo>
                  <a:pt x="119" y="395"/>
                  <a:pt x="119" y="395"/>
                  <a:pt x="119" y="395"/>
                </a:cubicBezTo>
                <a:cubicBezTo>
                  <a:pt x="53" y="395"/>
                  <a:pt x="0" y="340"/>
                  <a:pt x="0" y="271"/>
                </a:cubicBezTo>
                <a:cubicBezTo>
                  <a:pt x="0" y="127"/>
                  <a:pt x="0" y="127"/>
                  <a:pt x="0" y="127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83" y="271"/>
                  <a:pt x="83" y="271"/>
                  <a:pt x="83" y="271"/>
                </a:cubicBezTo>
                <a:cubicBezTo>
                  <a:pt x="83" y="292"/>
                  <a:pt x="99" y="309"/>
                  <a:pt x="119" y="309"/>
                </a:cubicBezTo>
                <a:cubicBezTo>
                  <a:pt x="277" y="309"/>
                  <a:pt x="277" y="309"/>
                  <a:pt x="277" y="309"/>
                </a:cubicBezTo>
                <a:cubicBezTo>
                  <a:pt x="297" y="309"/>
                  <a:pt x="314" y="292"/>
                  <a:pt x="314" y="271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7"/>
                  <a:pt x="314" y="127"/>
                  <a:pt x="314" y="127"/>
                </a:cubicBezTo>
                <a:cubicBezTo>
                  <a:pt x="314" y="125"/>
                  <a:pt x="314" y="125"/>
                  <a:pt x="314" y="125"/>
                </a:cubicBezTo>
                <a:cubicBezTo>
                  <a:pt x="314" y="56"/>
                  <a:pt x="367" y="0"/>
                  <a:pt x="433" y="0"/>
                </a:cubicBezTo>
                <a:cubicBezTo>
                  <a:pt x="591" y="0"/>
                  <a:pt x="591" y="0"/>
                  <a:pt x="591" y="0"/>
                </a:cubicBezTo>
                <a:cubicBezTo>
                  <a:pt x="657" y="0"/>
                  <a:pt x="710" y="56"/>
                  <a:pt x="710" y="125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68"/>
                  <a:pt x="710" y="268"/>
                  <a:pt x="710" y="268"/>
                </a:cubicBezTo>
                <a:cubicBezTo>
                  <a:pt x="710" y="271"/>
                  <a:pt x="710" y="271"/>
                  <a:pt x="710" y="271"/>
                </a:cubicBezTo>
                <a:cubicBezTo>
                  <a:pt x="710" y="292"/>
                  <a:pt x="726" y="309"/>
                  <a:pt x="746" y="309"/>
                </a:cubicBezTo>
                <a:cubicBezTo>
                  <a:pt x="904" y="309"/>
                  <a:pt x="904" y="309"/>
                  <a:pt x="904" y="309"/>
                </a:cubicBezTo>
                <a:cubicBezTo>
                  <a:pt x="924" y="309"/>
                  <a:pt x="941" y="292"/>
                  <a:pt x="941" y="271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7"/>
                  <a:pt x="941" y="127"/>
                  <a:pt x="941" y="127"/>
                </a:cubicBezTo>
                <a:cubicBezTo>
                  <a:pt x="941" y="125"/>
                  <a:pt x="941" y="125"/>
                  <a:pt x="941" y="125"/>
                </a:cubicBezTo>
                <a:cubicBezTo>
                  <a:pt x="941" y="56"/>
                  <a:pt x="994" y="0"/>
                  <a:pt x="1060" y="0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1284" y="0"/>
                  <a:pt x="1337" y="56"/>
                  <a:pt x="1337" y="125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127"/>
                  <a:pt x="1337" y="127"/>
                  <a:pt x="1337" y="127"/>
                </a:cubicBezTo>
                <a:cubicBezTo>
                  <a:pt x="1337" y="271"/>
                  <a:pt x="1337" y="271"/>
                  <a:pt x="1337" y="271"/>
                </a:cubicBezTo>
                <a:cubicBezTo>
                  <a:pt x="1337" y="292"/>
                  <a:pt x="1354" y="309"/>
                  <a:pt x="1374" y="309"/>
                </a:cubicBezTo>
                <a:cubicBezTo>
                  <a:pt x="1532" y="309"/>
                  <a:pt x="1532" y="309"/>
                  <a:pt x="1532" y="309"/>
                </a:cubicBezTo>
                <a:cubicBezTo>
                  <a:pt x="1552" y="309"/>
                  <a:pt x="1568" y="292"/>
                  <a:pt x="1568" y="271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7"/>
                  <a:pt x="1568" y="127"/>
                  <a:pt x="1568" y="127"/>
                </a:cubicBezTo>
                <a:cubicBezTo>
                  <a:pt x="1568" y="125"/>
                  <a:pt x="1568" y="125"/>
                  <a:pt x="1568" y="125"/>
                </a:cubicBezTo>
                <a:cubicBezTo>
                  <a:pt x="1568" y="56"/>
                  <a:pt x="1622" y="0"/>
                  <a:pt x="1687" y="0"/>
                </a:cubicBezTo>
                <a:cubicBezTo>
                  <a:pt x="1846" y="0"/>
                  <a:pt x="1846" y="0"/>
                  <a:pt x="1846" y="0"/>
                </a:cubicBezTo>
                <a:cubicBezTo>
                  <a:pt x="1911" y="0"/>
                  <a:pt x="1965" y="56"/>
                  <a:pt x="1965" y="125"/>
                </a:cubicBezTo>
                <a:cubicBezTo>
                  <a:pt x="1965" y="268"/>
                  <a:pt x="1965" y="268"/>
                  <a:pt x="1965" y="268"/>
                </a:cubicBezTo>
                <a:lnTo>
                  <a:pt x="1882" y="2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04" name="Google Shape;504;p54"/>
          <p:cNvGrpSpPr/>
          <p:nvPr/>
        </p:nvGrpSpPr>
        <p:grpSpPr>
          <a:xfrm>
            <a:off x="1200917" y="3531026"/>
            <a:ext cx="2086118" cy="1517729"/>
            <a:chOff x="2512991" y="763183"/>
            <a:chExt cx="2781490" cy="2023636"/>
          </a:xfrm>
        </p:grpSpPr>
        <p:sp>
          <p:nvSpPr>
            <p:cNvPr id="505" name="Google Shape;505;p54"/>
            <p:cNvSpPr/>
            <p:nvPr/>
          </p:nvSpPr>
          <p:spPr>
            <a:xfrm>
              <a:off x="2512991" y="1863420"/>
              <a:ext cx="2722091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</a:rPr>
                <a:t>Transition to Automation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Opportunity Selection</a:t>
              </a:r>
              <a:endParaRPr sz="1350" dirty="0">
                <a:solidFill>
                  <a:srgbClr val="3F3F3F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6" name="Google Shape;506;p54"/>
            <p:cNvSpPr/>
            <p:nvPr/>
          </p:nvSpPr>
          <p:spPr>
            <a:xfrm>
              <a:off x="2517255" y="763183"/>
              <a:ext cx="2777226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FF2600"/>
                  </a:solidFill>
                </a:rPr>
                <a:t>01</a:t>
              </a:r>
              <a:endParaRPr sz="1050" dirty="0"/>
            </a:p>
          </p:txBody>
        </p:sp>
      </p:grpSp>
      <p:grpSp>
        <p:nvGrpSpPr>
          <p:cNvPr id="507" name="Google Shape;507;p54"/>
          <p:cNvGrpSpPr/>
          <p:nvPr/>
        </p:nvGrpSpPr>
        <p:grpSpPr>
          <a:xfrm>
            <a:off x="3556479" y="3531026"/>
            <a:ext cx="2554841" cy="1513622"/>
            <a:chOff x="2621781" y="763183"/>
            <a:chExt cx="3406456" cy="2018160"/>
          </a:xfrm>
        </p:grpSpPr>
        <p:sp>
          <p:nvSpPr>
            <p:cNvPr id="508" name="Google Shape;508;p54"/>
            <p:cNvSpPr/>
            <p:nvPr/>
          </p:nvSpPr>
          <p:spPr>
            <a:xfrm>
              <a:off x="2621781" y="1857944"/>
              <a:ext cx="3406456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</a:rPr>
                <a:t>Demand Management (Dev)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Pre-requisite for Dev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Agile Lifecycle</a:t>
              </a:r>
              <a:endParaRPr sz="1350" dirty="0">
                <a:solidFill>
                  <a:srgbClr val="3F3F3F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9" name="Google Shape;509;p54"/>
            <p:cNvSpPr/>
            <p:nvPr/>
          </p:nvSpPr>
          <p:spPr>
            <a:xfrm>
              <a:off x="2628551" y="763183"/>
              <a:ext cx="3074459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809C00"/>
                  </a:solidFill>
                </a:rPr>
                <a:t>03</a:t>
              </a:r>
              <a:endParaRPr sz="1050" dirty="0"/>
            </a:p>
          </p:txBody>
        </p:sp>
      </p:grpSp>
      <p:grpSp>
        <p:nvGrpSpPr>
          <p:cNvPr id="510" name="Google Shape;510;p54"/>
          <p:cNvGrpSpPr/>
          <p:nvPr/>
        </p:nvGrpSpPr>
        <p:grpSpPr>
          <a:xfrm>
            <a:off x="6101917" y="3531026"/>
            <a:ext cx="1595700" cy="1513566"/>
            <a:chOff x="2983743" y="763183"/>
            <a:chExt cx="2127600" cy="2018088"/>
          </a:xfrm>
        </p:grpSpPr>
        <p:sp>
          <p:nvSpPr>
            <p:cNvPr id="511" name="Google Shape;511;p54"/>
            <p:cNvSpPr/>
            <p:nvPr/>
          </p:nvSpPr>
          <p:spPr>
            <a:xfrm>
              <a:off x="2983743" y="1857871"/>
              <a:ext cx="2127600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Operations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  <a:latin typeface="+mj-lt"/>
                  <a:ea typeface="Calibri"/>
                  <a:cs typeface="Calibri"/>
                  <a:sym typeface="Calibri"/>
                </a:rPr>
                <a:t>Support</a:t>
              </a:r>
              <a:endParaRPr sz="1350" dirty="0">
                <a:solidFill>
                  <a:srgbClr val="3F3F3F"/>
                </a:solidFill>
                <a:latin typeface="+mj-lt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2" name="Google Shape;512;p54"/>
            <p:cNvSpPr/>
            <p:nvPr/>
          </p:nvSpPr>
          <p:spPr>
            <a:xfrm>
              <a:off x="2983743" y="763183"/>
              <a:ext cx="1841100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4C51B8"/>
                  </a:solidFill>
                </a:rPr>
                <a:t>05</a:t>
              </a:r>
              <a:endParaRPr sz="1050" dirty="0"/>
            </a:p>
          </p:txBody>
        </p:sp>
      </p:grpSp>
      <p:grpSp>
        <p:nvGrpSpPr>
          <p:cNvPr id="513" name="Google Shape;513;p54"/>
          <p:cNvGrpSpPr/>
          <p:nvPr/>
        </p:nvGrpSpPr>
        <p:grpSpPr>
          <a:xfrm>
            <a:off x="2799872" y="368031"/>
            <a:ext cx="2210810" cy="1483133"/>
            <a:chOff x="3097965" y="345603"/>
            <a:chExt cx="2947747" cy="1977508"/>
          </a:xfrm>
        </p:grpSpPr>
        <p:sp>
          <p:nvSpPr>
            <p:cNvPr id="514" name="Google Shape;514;p54"/>
            <p:cNvSpPr/>
            <p:nvPr/>
          </p:nvSpPr>
          <p:spPr>
            <a:xfrm>
              <a:off x="3097977" y="1399712"/>
              <a:ext cx="2570003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  <a:ea typeface="Calibri"/>
                </a:rPr>
                <a:t>Demand Management Process Definition</a:t>
              </a:r>
              <a:endParaRPr sz="135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Google Shape;515;p54"/>
            <p:cNvSpPr/>
            <p:nvPr/>
          </p:nvSpPr>
          <p:spPr>
            <a:xfrm>
              <a:off x="3097965" y="345603"/>
              <a:ext cx="2947747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FFC801"/>
                  </a:solidFill>
                </a:rPr>
                <a:t>02</a:t>
              </a:r>
              <a:endParaRPr sz="1050" dirty="0"/>
            </a:p>
          </p:txBody>
        </p:sp>
      </p:grpSp>
      <p:grpSp>
        <p:nvGrpSpPr>
          <p:cNvPr id="516" name="Google Shape;516;p54"/>
          <p:cNvGrpSpPr/>
          <p:nvPr/>
        </p:nvGrpSpPr>
        <p:grpSpPr>
          <a:xfrm>
            <a:off x="5010683" y="368031"/>
            <a:ext cx="1595700" cy="1483133"/>
            <a:chOff x="6045711" y="345603"/>
            <a:chExt cx="2127599" cy="1977509"/>
          </a:xfrm>
        </p:grpSpPr>
        <p:sp>
          <p:nvSpPr>
            <p:cNvPr id="517" name="Google Shape;517;p54"/>
            <p:cNvSpPr/>
            <p:nvPr/>
          </p:nvSpPr>
          <p:spPr>
            <a:xfrm>
              <a:off x="6045711" y="1399713"/>
              <a:ext cx="2127599" cy="9233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1350" dirty="0" smtClean="0">
                  <a:solidFill>
                    <a:srgbClr val="3F3F3F"/>
                  </a:solidFill>
                </a:rPr>
                <a:t>Delivery</a:t>
              </a:r>
            </a:p>
            <a:p>
              <a:r>
                <a:rPr lang="en-US" sz="1350" dirty="0" smtClean="0">
                  <a:solidFill>
                    <a:srgbClr val="3F3F3F"/>
                  </a:solidFill>
                </a:rPr>
                <a:t>Deployment </a:t>
              </a:r>
              <a:endParaRPr sz="135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518;p54"/>
            <p:cNvSpPr/>
            <p:nvPr/>
          </p:nvSpPr>
          <p:spPr>
            <a:xfrm>
              <a:off x="6045728" y="345603"/>
              <a:ext cx="1671600" cy="923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r>
                <a:rPr lang="en-US" sz="4050" b="1" dirty="0" smtClean="0">
                  <a:solidFill>
                    <a:srgbClr val="00B69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521" name="Google Shape;521;p54"/>
          <p:cNvSpPr/>
          <p:nvPr/>
        </p:nvSpPr>
        <p:spPr>
          <a:xfrm>
            <a:off x="7347821" y="368031"/>
            <a:ext cx="1143000" cy="692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r>
              <a:rPr lang="en-US" sz="4050" b="1" dirty="0" smtClean="0">
                <a:solidFill>
                  <a:srgbClr val="00C9F3"/>
                </a:solidFill>
              </a:rPr>
              <a:t>06</a:t>
            </a:r>
            <a:endParaRPr sz="1050" dirty="0"/>
          </a:p>
        </p:txBody>
      </p:sp>
      <p:sp>
        <p:nvSpPr>
          <p:cNvPr id="24" name="Google Shape;59;p14"/>
          <p:cNvSpPr txBox="1">
            <a:spLocks/>
          </p:cNvSpPr>
          <p:nvPr/>
        </p:nvSpPr>
        <p:spPr>
          <a:xfrm>
            <a:off x="115762" y="107010"/>
            <a:ext cx="2938997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VERNANCE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99861" y="925688"/>
            <a:ext cx="12442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C801"/>
                </a:solidFill>
              </a:rPr>
              <a:t>DISCOVERY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00917" y="4069687"/>
            <a:ext cx="10422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2600"/>
                </a:solidFill>
              </a:rPr>
              <a:t>IDEATION</a:t>
            </a:r>
            <a:endParaRPr lang="en-US" sz="900" dirty="0"/>
          </a:p>
        </p:txBody>
      </p:sp>
      <p:sp>
        <p:nvSpPr>
          <p:cNvPr id="5" name="TextBox 4"/>
          <p:cNvSpPr txBox="1"/>
          <p:nvPr/>
        </p:nvSpPr>
        <p:spPr>
          <a:xfrm>
            <a:off x="3556479" y="4060930"/>
            <a:ext cx="1430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809C00"/>
                </a:solidFill>
              </a:rPr>
              <a:t>SOLUTIONING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012649" y="897934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69F"/>
                </a:solidFill>
              </a:rPr>
              <a:t>IMPLEMENTATIO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101457" y="4062674"/>
            <a:ext cx="1372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4C51B8"/>
                </a:solidFill>
              </a:rPr>
              <a:t>OPERATION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352824" y="877873"/>
            <a:ext cx="13901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00C9F3"/>
                </a:solidFill>
              </a:rPr>
              <a:t>BENEFITS</a:t>
            </a:r>
          </a:p>
          <a:p>
            <a:r>
              <a:rPr lang="en-US" b="1" dirty="0" smtClean="0">
                <a:solidFill>
                  <a:srgbClr val="00C9F3"/>
                </a:solidFill>
              </a:rPr>
              <a:t>REAL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61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ángulo 65"/>
          <p:cNvSpPr/>
          <p:nvPr/>
        </p:nvSpPr>
        <p:spPr>
          <a:xfrm>
            <a:off x="5734765" y="1374274"/>
            <a:ext cx="1470537" cy="407082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309555" y="1374274"/>
            <a:ext cx="1470537" cy="407082"/>
          </a:xfrm>
          <a:prstGeom prst="rect">
            <a:avLst/>
          </a:prstGeom>
          <a:solidFill>
            <a:srgbClr val="E9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Elbow Connector 53"/>
          <p:cNvCxnSpPr>
            <a:stCxn id="72" idx="2"/>
            <a:endCxn id="73" idx="0"/>
          </p:cNvCxnSpPr>
          <p:nvPr/>
        </p:nvCxnSpPr>
        <p:spPr>
          <a:xfrm rot="16200000" flipH="1">
            <a:off x="2480031" y="3096221"/>
            <a:ext cx="142751" cy="808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"/>
          <p:cNvSpPr/>
          <p:nvPr/>
        </p:nvSpPr>
        <p:spPr>
          <a:xfrm>
            <a:off x="1401467" y="2045179"/>
            <a:ext cx="1078240" cy="41499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5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Function</a:t>
            </a:r>
          </a:p>
        </p:txBody>
      </p:sp>
      <p:sp>
        <p:nvSpPr>
          <p:cNvPr id="63" name="Rectangle 3"/>
          <p:cNvSpPr/>
          <p:nvPr/>
        </p:nvSpPr>
        <p:spPr>
          <a:xfrm>
            <a:off x="132680" y="2764937"/>
            <a:ext cx="854072" cy="35374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Evangelist</a:t>
            </a:r>
          </a:p>
        </p:txBody>
      </p:sp>
      <p:cxnSp>
        <p:nvCxnSpPr>
          <p:cNvPr id="64" name="Elbow Connector 5"/>
          <p:cNvCxnSpPr>
            <a:stCxn id="62" idx="2"/>
            <a:endCxn id="63" idx="0"/>
          </p:cNvCxnSpPr>
          <p:nvPr/>
        </p:nvCxnSpPr>
        <p:spPr>
          <a:xfrm rot="5400000">
            <a:off x="1130044" y="1932314"/>
            <a:ext cx="304760" cy="1360487"/>
          </a:xfrm>
          <a:prstGeom prst="bentConnector3">
            <a:avLst/>
          </a:prstGeom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8"/>
          <p:cNvSpPr/>
          <p:nvPr/>
        </p:nvSpPr>
        <p:spPr>
          <a:xfrm>
            <a:off x="1113906" y="2771803"/>
            <a:ext cx="835014" cy="308991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Owner (s)</a:t>
            </a:r>
          </a:p>
        </p:txBody>
      </p:sp>
      <p:sp>
        <p:nvSpPr>
          <p:cNvPr id="70" name="Rectangle 40"/>
          <p:cNvSpPr/>
          <p:nvPr/>
        </p:nvSpPr>
        <p:spPr>
          <a:xfrm>
            <a:off x="1035217" y="3186800"/>
            <a:ext cx="996485" cy="293667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5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rocess SME (s)</a:t>
            </a:r>
          </a:p>
        </p:txBody>
      </p:sp>
      <p:cxnSp>
        <p:nvCxnSpPr>
          <p:cNvPr id="71" name="Elbow Connector 39"/>
          <p:cNvCxnSpPr>
            <a:stCxn id="67" idx="2"/>
            <a:endCxn id="70" idx="0"/>
          </p:cNvCxnSpPr>
          <p:nvPr/>
        </p:nvCxnSpPr>
        <p:spPr>
          <a:xfrm>
            <a:off x="1531413" y="3080794"/>
            <a:ext cx="2047" cy="106006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6"/>
          <p:cNvSpPr/>
          <p:nvPr/>
        </p:nvSpPr>
        <p:spPr>
          <a:xfrm>
            <a:off x="2190323" y="2774868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Owner</a:t>
            </a:r>
          </a:p>
        </p:txBody>
      </p:sp>
      <p:sp>
        <p:nvSpPr>
          <p:cNvPr id="73" name="Rectangle 47"/>
          <p:cNvSpPr/>
          <p:nvPr/>
        </p:nvSpPr>
        <p:spPr>
          <a:xfrm>
            <a:off x="2191131" y="3168000"/>
            <a:ext cx="656117" cy="317508"/>
          </a:xfrm>
          <a:prstGeom prst="rect">
            <a:avLst/>
          </a:prstGeom>
          <a:solidFill>
            <a:srgbClr val="367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alyst</a:t>
            </a:r>
          </a:p>
        </p:txBody>
      </p:sp>
      <p:sp>
        <p:nvSpPr>
          <p:cNvPr id="74" name="Rectangle 49"/>
          <p:cNvSpPr/>
          <p:nvPr/>
        </p:nvSpPr>
        <p:spPr>
          <a:xfrm>
            <a:off x="2941995" y="3175201"/>
            <a:ext cx="656117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ead Developer</a:t>
            </a:r>
          </a:p>
        </p:txBody>
      </p:sp>
      <p:sp>
        <p:nvSpPr>
          <p:cNvPr id="75" name="Rectangle 50"/>
          <p:cNvSpPr/>
          <p:nvPr/>
        </p:nvSpPr>
        <p:spPr>
          <a:xfrm>
            <a:off x="2348131" y="3675728"/>
            <a:ext cx="787532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</a:p>
        </p:txBody>
      </p:sp>
      <p:sp>
        <p:nvSpPr>
          <p:cNvPr id="76" name="Rectangle 52"/>
          <p:cNvSpPr/>
          <p:nvPr/>
        </p:nvSpPr>
        <p:spPr>
          <a:xfrm>
            <a:off x="3203001" y="3673921"/>
            <a:ext cx="656117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</a:t>
            </a:r>
          </a:p>
        </p:txBody>
      </p:sp>
      <p:cxnSp>
        <p:nvCxnSpPr>
          <p:cNvPr id="78" name="Elbow Connector 54"/>
          <p:cNvCxnSpPr>
            <a:stCxn id="81" idx="2"/>
            <a:endCxn id="74" idx="0"/>
          </p:cNvCxnSpPr>
          <p:nvPr/>
        </p:nvCxnSpPr>
        <p:spPr>
          <a:xfrm rot="16200000" flipH="1">
            <a:off x="3223323" y="3095847"/>
            <a:ext cx="156878" cy="1828"/>
          </a:xfrm>
          <a:prstGeom prst="bentConnector3">
            <a:avLst>
              <a:gd name="adj1" fmla="val 50000"/>
            </a:avLst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55"/>
          <p:cNvCxnSpPr>
            <a:stCxn id="74" idx="2"/>
            <a:endCxn id="75" idx="0"/>
          </p:cNvCxnSpPr>
          <p:nvPr/>
        </p:nvCxnSpPr>
        <p:spPr>
          <a:xfrm rot="5400000">
            <a:off x="2914467" y="3320140"/>
            <a:ext cx="183019" cy="528157"/>
          </a:xfrm>
          <a:prstGeom prst="bentConnector3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56"/>
          <p:cNvCxnSpPr>
            <a:stCxn id="74" idx="2"/>
            <a:endCxn id="76" idx="0"/>
          </p:cNvCxnSpPr>
          <p:nvPr/>
        </p:nvCxnSpPr>
        <p:spPr>
          <a:xfrm rot="16200000" flipH="1">
            <a:off x="3309951" y="3452812"/>
            <a:ext cx="181212" cy="261006"/>
          </a:xfrm>
          <a:prstGeom prst="bentConnector3">
            <a:avLst>
              <a:gd name="adj1" fmla="val 50000"/>
            </a:avLst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57"/>
          <p:cNvSpPr/>
          <p:nvPr/>
        </p:nvSpPr>
        <p:spPr>
          <a:xfrm>
            <a:off x="2940168" y="2767941"/>
            <a:ext cx="656117" cy="31750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88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m Master</a:t>
            </a:r>
          </a:p>
        </p:txBody>
      </p:sp>
      <p:cxnSp>
        <p:nvCxnSpPr>
          <p:cNvPr id="82" name="Elbow Connector 59"/>
          <p:cNvCxnSpPr>
            <a:stCxn id="62" idx="2"/>
            <a:endCxn id="81" idx="0"/>
          </p:cNvCxnSpPr>
          <p:nvPr/>
        </p:nvCxnSpPr>
        <p:spPr>
          <a:xfrm rot="16200000" flipH="1">
            <a:off x="2450525" y="1950239"/>
            <a:ext cx="307764" cy="1327640"/>
          </a:xfrm>
          <a:prstGeom prst="bentConnector3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20"/>
          <p:cNvCxnSpPr>
            <a:stCxn id="62" idx="2"/>
            <a:endCxn id="67" idx="0"/>
          </p:cNvCxnSpPr>
          <p:nvPr/>
        </p:nvCxnSpPr>
        <p:spPr>
          <a:xfrm rot="5400000">
            <a:off x="1580187" y="2411403"/>
            <a:ext cx="311626" cy="409174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/>
          <p:cNvSpPr txBox="1"/>
          <p:nvPr/>
        </p:nvSpPr>
        <p:spPr>
          <a:xfrm>
            <a:off x="1395951" y="1430055"/>
            <a:ext cx="127150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s-ES" sz="1350" kern="1200" dirty="0" err="1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</a:t>
            </a:r>
            <a:r>
              <a:rPr lang="es-ES" sz="1350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usiness</a:t>
            </a:r>
            <a:endParaRPr lang="en-US" sz="1350" kern="1200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CuadroTexto 91"/>
          <p:cNvSpPr txBox="1"/>
          <p:nvPr/>
        </p:nvSpPr>
        <p:spPr>
          <a:xfrm>
            <a:off x="5818766" y="1435992"/>
            <a:ext cx="12907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s-ES" sz="1350" kern="1200" dirty="0" err="1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</a:t>
            </a:r>
            <a:r>
              <a:rPr lang="es-ES" sz="1350" kern="1200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re/ISG</a:t>
            </a:r>
            <a:endParaRPr lang="en-US" sz="1350" kern="1200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9" name="Elbow Connector 45"/>
          <p:cNvCxnSpPr>
            <a:stCxn id="62" idx="2"/>
            <a:endCxn id="72" idx="0"/>
          </p:cNvCxnSpPr>
          <p:nvPr/>
        </p:nvCxnSpPr>
        <p:spPr>
          <a:xfrm rot="16200000" flipH="1">
            <a:off x="2072139" y="2328624"/>
            <a:ext cx="314691" cy="5777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"/>
          <p:cNvSpPr/>
          <p:nvPr/>
        </p:nvSpPr>
        <p:spPr>
          <a:xfrm>
            <a:off x="6611575" y="1944637"/>
            <a:ext cx="1156712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RPA</a:t>
            </a:r>
          </a:p>
        </p:txBody>
      </p:sp>
      <p:sp>
        <p:nvSpPr>
          <p:cNvPr id="61" name="Rectangle 2"/>
          <p:cNvSpPr/>
          <p:nvPr/>
        </p:nvSpPr>
        <p:spPr>
          <a:xfrm>
            <a:off x="5615261" y="2394301"/>
            <a:ext cx="1238960" cy="187261"/>
          </a:xfrm>
          <a:prstGeom prst="rect">
            <a:avLst/>
          </a:prstGeom>
          <a:solidFill>
            <a:srgbClr val="3675A4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y Manager</a:t>
            </a:r>
          </a:p>
        </p:txBody>
      </p:sp>
      <p:cxnSp>
        <p:nvCxnSpPr>
          <p:cNvPr id="83" name="Elbow Connector 5"/>
          <p:cNvCxnSpPr>
            <a:stCxn id="109" idx="0"/>
            <a:endCxn id="87" idx="2"/>
          </p:cNvCxnSpPr>
          <p:nvPr/>
        </p:nvCxnSpPr>
        <p:spPr>
          <a:xfrm rot="16200000" flipV="1">
            <a:off x="5287370" y="2793195"/>
            <a:ext cx="146763" cy="79504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/>
          <p:nvPr/>
        </p:nvSpPr>
        <p:spPr>
          <a:xfrm>
            <a:off x="6288970" y="325603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1</a:t>
            </a:r>
          </a:p>
        </p:txBody>
      </p:sp>
      <p:cxnSp>
        <p:nvCxnSpPr>
          <p:cNvPr id="85" name="Elbow Connector 8"/>
          <p:cNvCxnSpPr>
            <a:stCxn id="100" idx="2"/>
            <a:endCxn id="84" idx="0"/>
          </p:cNvCxnSpPr>
          <p:nvPr/>
        </p:nvCxnSpPr>
        <p:spPr>
          <a:xfrm rot="5400000">
            <a:off x="6721379" y="2865052"/>
            <a:ext cx="187260" cy="594699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11"/>
          <p:cNvSpPr/>
          <p:nvPr/>
        </p:nvSpPr>
        <p:spPr>
          <a:xfrm>
            <a:off x="7465286" y="3264097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 Squad Ops</a:t>
            </a:r>
          </a:p>
        </p:txBody>
      </p:sp>
      <p:sp>
        <p:nvSpPr>
          <p:cNvPr id="87" name="Rectangle 21"/>
          <p:cNvSpPr/>
          <p:nvPr/>
        </p:nvSpPr>
        <p:spPr>
          <a:xfrm>
            <a:off x="4641506" y="2801413"/>
            <a:ext cx="643448" cy="315921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 Designer</a:t>
            </a:r>
          </a:p>
        </p:txBody>
      </p:sp>
      <p:sp>
        <p:nvSpPr>
          <p:cNvPr id="88" name="Rectangle 22"/>
          <p:cNvSpPr/>
          <p:nvPr/>
        </p:nvSpPr>
        <p:spPr>
          <a:xfrm>
            <a:off x="4098792" y="3254926"/>
            <a:ext cx="505761" cy="26127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Analyst</a:t>
            </a:r>
          </a:p>
        </p:txBody>
      </p:sp>
      <p:sp>
        <p:nvSpPr>
          <p:cNvPr id="90" name="Rectangle 23"/>
          <p:cNvSpPr/>
          <p:nvPr/>
        </p:nvSpPr>
        <p:spPr>
          <a:xfrm>
            <a:off x="4621224" y="3725766"/>
            <a:ext cx="679311" cy="352144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Lead Developer</a:t>
            </a:r>
          </a:p>
        </p:txBody>
      </p:sp>
      <p:cxnSp>
        <p:nvCxnSpPr>
          <p:cNvPr id="93" name="Elbow Connector 26"/>
          <p:cNvCxnSpPr>
            <a:stCxn id="61" idx="2"/>
            <a:endCxn id="87" idx="0"/>
          </p:cNvCxnSpPr>
          <p:nvPr/>
        </p:nvCxnSpPr>
        <p:spPr>
          <a:xfrm rot="5400000">
            <a:off x="5468234" y="2100582"/>
            <a:ext cx="219851" cy="118181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27"/>
          <p:cNvSpPr/>
          <p:nvPr/>
        </p:nvSpPr>
        <p:spPr>
          <a:xfrm>
            <a:off x="4347399" y="4292611"/>
            <a:ext cx="655577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</a:p>
        </p:txBody>
      </p:sp>
      <p:sp>
        <p:nvSpPr>
          <p:cNvPr id="95" name="Rectangle 28"/>
          <p:cNvSpPr/>
          <p:nvPr/>
        </p:nvSpPr>
        <p:spPr>
          <a:xfrm>
            <a:off x="5036120" y="4292611"/>
            <a:ext cx="457380" cy="23067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</a:t>
            </a:r>
          </a:p>
        </p:txBody>
      </p:sp>
      <p:cxnSp>
        <p:nvCxnSpPr>
          <p:cNvPr id="96" name="Elbow Connector 30"/>
          <p:cNvCxnSpPr>
            <a:stCxn id="87" idx="2"/>
            <a:endCxn id="88" idx="0"/>
          </p:cNvCxnSpPr>
          <p:nvPr/>
        </p:nvCxnSpPr>
        <p:spPr>
          <a:xfrm rot="5400000">
            <a:off x="4588656" y="2880352"/>
            <a:ext cx="137592" cy="611557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32"/>
          <p:cNvCxnSpPr>
            <a:stCxn id="106" idx="2"/>
            <a:endCxn id="90" idx="0"/>
          </p:cNvCxnSpPr>
          <p:nvPr/>
        </p:nvCxnSpPr>
        <p:spPr>
          <a:xfrm flipH="1">
            <a:off x="4960880" y="3588174"/>
            <a:ext cx="1095" cy="137592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36"/>
          <p:cNvCxnSpPr>
            <a:stCxn id="90" idx="2"/>
            <a:endCxn id="94" idx="0"/>
          </p:cNvCxnSpPr>
          <p:nvPr/>
        </p:nvCxnSpPr>
        <p:spPr>
          <a:xfrm rot="5400000">
            <a:off x="4710684" y="4042414"/>
            <a:ext cx="214701" cy="285692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8"/>
          <p:cNvCxnSpPr>
            <a:stCxn id="90" idx="2"/>
            <a:endCxn id="95" idx="0"/>
          </p:cNvCxnSpPr>
          <p:nvPr/>
        </p:nvCxnSpPr>
        <p:spPr>
          <a:xfrm rot="16200000" flipH="1">
            <a:off x="5005495" y="4033295"/>
            <a:ext cx="214701" cy="303930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42"/>
          <p:cNvSpPr/>
          <p:nvPr/>
        </p:nvSpPr>
        <p:spPr>
          <a:xfrm>
            <a:off x="6656891" y="2804176"/>
            <a:ext cx="908934" cy="272662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8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</a:t>
            </a:r>
            <a:r>
              <a:rPr lang="en-PH" sz="8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M / </a:t>
            </a:r>
            <a:r>
              <a:rPr lang="en-PH" sz="8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Ops Coach</a:t>
            </a:r>
          </a:p>
        </p:txBody>
      </p:sp>
      <p:sp>
        <p:nvSpPr>
          <p:cNvPr id="101" name="Rectangle 43"/>
          <p:cNvSpPr/>
          <p:nvPr/>
        </p:nvSpPr>
        <p:spPr>
          <a:xfrm>
            <a:off x="6838101" y="3256030"/>
            <a:ext cx="591821" cy="30801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Ops</a:t>
            </a: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gineer</a:t>
            </a:r>
          </a:p>
        </p:txBody>
      </p:sp>
      <p:cxnSp>
        <p:nvCxnSpPr>
          <p:cNvPr id="102" name="Elbow Connector 45"/>
          <p:cNvCxnSpPr>
            <a:stCxn id="61" idx="2"/>
            <a:endCxn id="100" idx="0"/>
          </p:cNvCxnSpPr>
          <p:nvPr/>
        </p:nvCxnSpPr>
        <p:spPr>
          <a:xfrm rot="16200000" flipH="1">
            <a:off x="6529405" y="2221221"/>
            <a:ext cx="222614" cy="943295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39"/>
          <p:cNvCxnSpPr>
            <a:stCxn id="100" idx="2"/>
            <a:endCxn id="101" idx="0"/>
          </p:cNvCxnSpPr>
          <p:nvPr/>
        </p:nvCxnSpPr>
        <p:spPr>
          <a:xfrm flipH="1">
            <a:off x="7110131" y="3068771"/>
            <a:ext cx="2228" cy="18726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40"/>
          <p:cNvSpPr/>
          <p:nvPr/>
        </p:nvSpPr>
        <p:spPr>
          <a:xfrm>
            <a:off x="6731009" y="3641666"/>
            <a:ext cx="756990" cy="410789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Orchestrator Ops Team</a:t>
            </a:r>
          </a:p>
        </p:txBody>
      </p:sp>
      <p:cxnSp>
        <p:nvCxnSpPr>
          <p:cNvPr id="105" name="Elbow Connector 41"/>
          <p:cNvCxnSpPr>
            <a:stCxn id="101" idx="2"/>
            <a:endCxn id="104" idx="0"/>
          </p:cNvCxnSpPr>
          <p:nvPr/>
        </p:nvCxnSpPr>
        <p:spPr>
          <a:xfrm rot="5400000">
            <a:off x="7057946" y="3589481"/>
            <a:ext cx="103743" cy="627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46"/>
          <p:cNvSpPr/>
          <p:nvPr/>
        </p:nvSpPr>
        <p:spPr>
          <a:xfrm>
            <a:off x="4712301" y="3252604"/>
            <a:ext cx="499348" cy="335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um Master</a:t>
            </a:r>
          </a:p>
        </p:txBody>
      </p:sp>
      <p:cxnSp>
        <p:nvCxnSpPr>
          <p:cNvPr id="107" name="Elbow Connector 49"/>
          <p:cNvCxnSpPr>
            <a:stCxn id="87" idx="2"/>
            <a:endCxn id="106" idx="0"/>
          </p:cNvCxnSpPr>
          <p:nvPr/>
        </p:nvCxnSpPr>
        <p:spPr>
          <a:xfrm flipH="1">
            <a:off x="4961975" y="3117334"/>
            <a:ext cx="1255" cy="135270"/>
          </a:xfrm>
          <a:prstGeom prst="straightConnector1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37"/>
          <p:cNvSpPr/>
          <p:nvPr/>
        </p:nvSpPr>
        <p:spPr>
          <a:xfrm>
            <a:off x="7645652" y="2396565"/>
            <a:ext cx="1350029" cy="184996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10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Manager</a:t>
            </a:r>
          </a:p>
        </p:txBody>
      </p:sp>
      <p:sp>
        <p:nvSpPr>
          <p:cNvPr id="109" name="Rectangle 47"/>
          <p:cNvSpPr/>
          <p:nvPr/>
        </p:nvSpPr>
        <p:spPr>
          <a:xfrm>
            <a:off x="5319324" y="3264097"/>
            <a:ext cx="877894" cy="377570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 Squad Implementation</a:t>
            </a:r>
          </a:p>
        </p:txBody>
      </p:sp>
      <p:cxnSp>
        <p:nvCxnSpPr>
          <p:cNvPr id="110" name="Elbow Connector 50"/>
          <p:cNvCxnSpPr>
            <a:stCxn id="86" idx="0"/>
            <a:endCxn id="100" idx="2"/>
          </p:cNvCxnSpPr>
          <p:nvPr/>
        </p:nvCxnSpPr>
        <p:spPr>
          <a:xfrm rot="16200000" flipV="1">
            <a:off x="7361452" y="2819679"/>
            <a:ext cx="195326" cy="693511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26"/>
          <p:cNvCxnSpPr>
            <a:stCxn id="60" idx="2"/>
            <a:endCxn id="61" idx="0"/>
          </p:cNvCxnSpPr>
          <p:nvPr/>
        </p:nvCxnSpPr>
        <p:spPr>
          <a:xfrm rot="5400000">
            <a:off x="6602844" y="1807213"/>
            <a:ext cx="218985" cy="955190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26"/>
          <p:cNvCxnSpPr>
            <a:stCxn id="108" idx="0"/>
            <a:endCxn id="60" idx="2"/>
          </p:cNvCxnSpPr>
          <p:nvPr/>
        </p:nvCxnSpPr>
        <p:spPr>
          <a:xfrm rot="16200000" flipV="1">
            <a:off x="7644675" y="1720573"/>
            <a:ext cx="221249" cy="1130736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n 1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9081" y="910540"/>
            <a:ext cx="748755" cy="806072"/>
          </a:xfrm>
          <a:prstGeom prst="rect">
            <a:avLst/>
          </a:prstGeom>
        </p:spPr>
      </p:pic>
      <p:cxnSp>
        <p:nvCxnSpPr>
          <p:cNvPr id="114" name="Conector recto 113"/>
          <p:cNvCxnSpPr/>
          <p:nvPr/>
        </p:nvCxnSpPr>
        <p:spPr>
          <a:xfrm flipH="1" flipV="1">
            <a:off x="4006201" y="1761540"/>
            <a:ext cx="7257" cy="2808000"/>
          </a:xfrm>
          <a:prstGeom prst="line">
            <a:avLst/>
          </a:prstGeom>
          <a:ln w="12700" cap="sq">
            <a:solidFill>
              <a:schemeClr val="tx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2363142" y="4323239"/>
            <a:ext cx="310477" cy="19594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2643703" y="4307042"/>
            <a:ext cx="1284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Optional</a:t>
            </a:r>
            <a:r>
              <a:rPr lang="es-E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E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Google Shape;59;p14"/>
          <p:cNvSpPr txBox="1">
            <a:spLocks/>
          </p:cNvSpPr>
          <p:nvPr/>
        </p:nvSpPr>
        <p:spPr>
          <a:xfrm>
            <a:off x="234314" y="138485"/>
            <a:ext cx="8832294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PA </a:t>
            </a:r>
            <a:r>
              <a:rPr lang="en-US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E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ORGANIZATION STRUCTUR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2"/>
          <p:cNvSpPr/>
          <p:nvPr/>
        </p:nvSpPr>
        <p:spPr>
          <a:xfrm>
            <a:off x="4196287" y="2372044"/>
            <a:ext cx="1238960" cy="230873"/>
          </a:xfrm>
          <a:prstGeom prst="rect">
            <a:avLst/>
          </a:prstGeom>
          <a:solidFill>
            <a:srgbClr val="3675A4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Improvement Manager</a:t>
            </a:r>
            <a:endParaRPr lang="en-PH" sz="700" kern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Elbow Connector 26"/>
          <p:cNvCxnSpPr>
            <a:stCxn id="60" idx="2"/>
            <a:endCxn id="59" idx="0"/>
          </p:cNvCxnSpPr>
          <p:nvPr/>
        </p:nvCxnSpPr>
        <p:spPr>
          <a:xfrm rot="5400000">
            <a:off x="5904485" y="1086598"/>
            <a:ext cx="196728" cy="2374164"/>
          </a:xfrm>
          <a:prstGeom prst="bentConnector3">
            <a:avLst>
              <a:gd name="adj1" fmla="val 50000"/>
            </a:avLst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Elbow Connector 20"/>
          <p:cNvCxnSpPr>
            <a:stCxn id="62" idx="2"/>
            <a:endCxn id="63" idx="0"/>
          </p:cNvCxnSpPr>
          <p:nvPr/>
        </p:nvCxnSpPr>
        <p:spPr>
          <a:xfrm rot="5400000">
            <a:off x="1097772" y="1922122"/>
            <a:ext cx="304760" cy="1380871"/>
          </a:xfrm>
          <a:prstGeom prst="bentConnector3">
            <a:avLst/>
          </a:prstGeom>
          <a:ln w="50800">
            <a:solidFill>
              <a:srgbClr val="367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ectangle 11"/>
          <p:cNvSpPr/>
          <p:nvPr/>
        </p:nvSpPr>
        <p:spPr>
          <a:xfrm>
            <a:off x="7980082" y="2801413"/>
            <a:ext cx="681167" cy="273827"/>
          </a:xfrm>
          <a:prstGeom prst="rect">
            <a:avLst/>
          </a:prstGeom>
          <a:solidFill>
            <a:srgbClr val="3675A4"/>
          </a:solidFill>
          <a:ln>
            <a:solidFill>
              <a:srgbClr val="3675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PH" sz="700" kern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SDM(s)</a:t>
            </a:r>
            <a:endParaRPr lang="en-PH" sz="700" kern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5" name="Elbow Connector 45"/>
          <p:cNvCxnSpPr>
            <a:stCxn id="100" idx="3"/>
            <a:endCxn id="224" idx="1"/>
          </p:cNvCxnSpPr>
          <p:nvPr/>
        </p:nvCxnSpPr>
        <p:spPr>
          <a:xfrm flipV="1">
            <a:off x="7565825" y="2938327"/>
            <a:ext cx="414257" cy="2180"/>
          </a:xfrm>
          <a:prstGeom prst="straightConnector1">
            <a:avLst/>
          </a:prstGeom>
          <a:ln w="50800">
            <a:solidFill>
              <a:srgbClr val="3675A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047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0506" y="249569"/>
            <a:ext cx="1374775" cy="4699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IDEATION</a:t>
            </a:r>
            <a:endParaRPr lang="en-US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559870" y="249569"/>
            <a:ext cx="1374775" cy="4699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2"/>
                </a:solidFill>
              </a:rPr>
              <a:t>DISCOVERY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0506" y="719469"/>
            <a:ext cx="1374775" cy="4076700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559870" y="719469"/>
            <a:ext cx="1374775" cy="40767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038844" y="249569"/>
            <a:ext cx="2819031" cy="4699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6"/>
                </a:solidFill>
              </a:rPr>
              <a:t>SOLUTIONING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038843" y="719469"/>
            <a:ext cx="2826059" cy="40767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051345" y="249569"/>
            <a:ext cx="1422400" cy="4699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accent1"/>
                </a:solidFill>
              </a:rPr>
              <a:t>IMPLEMENTATION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051345" y="719469"/>
            <a:ext cx="1422400" cy="40767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635958" y="719469"/>
            <a:ext cx="1422400" cy="40767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161179" y="118333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TRANSITION TO AUTOMATION</a:t>
            </a:r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161178" y="1907147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PROCESS SELECTION</a:t>
            </a:r>
            <a:endParaRPr lang="en-US" sz="10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7786" y="262915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CREATE INITIAL BUSINESS CASE</a:t>
            </a:r>
            <a:endParaRPr lang="en-US" sz="95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Diamond 3"/>
          <p:cNvSpPr/>
          <p:nvPr/>
        </p:nvSpPr>
        <p:spPr>
          <a:xfrm>
            <a:off x="327422" y="3338765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Arrow Connector 5"/>
          <p:cNvCxnSpPr>
            <a:stCxn id="80" idx="2"/>
            <a:endCxn id="81" idx="0"/>
          </p:cNvCxnSpPr>
          <p:nvPr/>
        </p:nvCxnSpPr>
        <p:spPr>
          <a:xfrm flipH="1">
            <a:off x="751285" y="1714958"/>
            <a:ext cx="1" cy="19218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81" idx="2"/>
            <a:endCxn id="82" idx="0"/>
          </p:cNvCxnSpPr>
          <p:nvPr/>
        </p:nvCxnSpPr>
        <p:spPr>
          <a:xfrm>
            <a:off x="751285" y="2438775"/>
            <a:ext cx="6608" cy="1903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82" idx="2"/>
            <a:endCxn id="4" idx="0"/>
          </p:cNvCxnSpPr>
          <p:nvPr/>
        </p:nvCxnSpPr>
        <p:spPr>
          <a:xfrm flipH="1">
            <a:off x="751284" y="3160786"/>
            <a:ext cx="6609" cy="1779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71010" y="4223132"/>
            <a:ext cx="7616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 smtClean="0">
                <a:solidFill>
                  <a:schemeClr val="accent2"/>
                </a:solidFill>
              </a:rPr>
              <a:t>Approved?</a:t>
            </a:r>
            <a:endParaRPr lang="en-US" sz="800" b="1" dirty="0">
              <a:solidFill>
                <a:schemeClr val="accent2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597114" y="4176598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Straight Arrow Connector 84"/>
          <p:cNvCxnSpPr>
            <a:stCxn id="4" idx="2"/>
            <a:endCxn id="19" idx="0"/>
          </p:cNvCxnSpPr>
          <p:nvPr/>
        </p:nvCxnSpPr>
        <p:spPr>
          <a:xfrm>
            <a:off x="751284" y="3976719"/>
            <a:ext cx="2" cy="19987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332792" y="3932279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NO</a:t>
            </a:r>
            <a:endParaRPr lang="en-US" sz="8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657150" y="92355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DEMAND MANAGEMENT</a:t>
            </a:r>
          </a:p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(PROCESS)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666406" y="171250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CAPACITY MANAGEMENT (PEOPLE)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666406" y="249200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CREATION OF PDD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666406" y="32371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2"/>
                </a:solidFill>
              </a:rPr>
              <a:t>UPDATING OF  BUSINESS CASE</a:t>
            </a:r>
            <a:endParaRPr lang="en-US" sz="1000" b="1" dirty="0">
              <a:solidFill>
                <a:schemeClr val="accent2"/>
              </a:solidFill>
            </a:endParaRPr>
          </a:p>
        </p:txBody>
      </p:sp>
      <p:sp>
        <p:nvSpPr>
          <p:cNvPr id="111" name="Diamond 110"/>
          <p:cNvSpPr/>
          <p:nvPr/>
        </p:nvSpPr>
        <p:spPr>
          <a:xfrm>
            <a:off x="1832650" y="4017552"/>
            <a:ext cx="847724" cy="637954"/>
          </a:xfrm>
          <a:prstGeom prst="diamond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2" name="Straight Arrow Connector 111"/>
          <p:cNvCxnSpPr>
            <a:stCxn id="111" idx="1"/>
            <a:endCxn id="19" idx="6"/>
          </p:cNvCxnSpPr>
          <p:nvPr/>
        </p:nvCxnSpPr>
        <p:spPr>
          <a:xfrm flipH="1">
            <a:off x="905458" y="4336529"/>
            <a:ext cx="927192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2630739" y="4120342"/>
            <a:ext cx="4158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2"/>
                </a:solidFill>
              </a:rPr>
              <a:t>YES</a:t>
            </a:r>
            <a:endParaRPr lang="en-US" sz="800" b="1" dirty="0">
              <a:solidFill>
                <a:schemeClr val="accent2"/>
              </a:solidFill>
            </a:endParaRPr>
          </a:p>
        </p:txBody>
      </p:sp>
      <p:cxnSp>
        <p:nvCxnSpPr>
          <p:cNvPr id="117" name="Straight Arrow Connector 116"/>
          <p:cNvCxnSpPr>
            <a:stCxn id="109" idx="2"/>
            <a:endCxn id="111" idx="0"/>
          </p:cNvCxnSpPr>
          <p:nvPr/>
        </p:nvCxnSpPr>
        <p:spPr>
          <a:xfrm flipH="1">
            <a:off x="2256512" y="3768787"/>
            <a:ext cx="1" cy="24876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/>
          <p:cNvCxnSpPr>
            <a:stCxn id="108" idx="2"/>
            <a:endCxn id="109" idx="0"/>
          </p:cNvCxnSpPr>
          <p:nvPr/>
        </p:nvCxnSpPr>
        <p:spPr>
          <a:xfrm>
            <a:off x="2256513" y="3023633"/>
            <a:ext cx="0" cy="21352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07" idx="2"/>
            <a:endCxn id="108" idx="0"/>
          </p:cNvCxnSpPr>
          <p:nvPr/>
        </p:nvCxnSpPr>
        <p:spPr>
          <a:xfrm>
            <a:off x="2256513" y="2244128"/>
            <a:ext cx="0" cy="24787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89" idx="2"/>
            <a:endCxn id="107" idx="0"/>
          </p:cNvCxnSpPr>
          <p:nvPr/>
        </p:nvCxnSpPr>
        <p:spPr>
          <a:xfrm>
            <a:off x="2247257" y="1455183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/>
          <p:cNvSpPr txBox="1"/>
          <p:nvPr/>
        </p:nvSpPr>
        <p:spPr>
          <a:xfrm>
            <a:off x="428467" y="3544269"/>
            <a:ext cx="769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Approved?</a:t>
            </a:r>
            <a:endParaRPr lang="en-US" sz="8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539757" y="4120342"/>
            <a:ext cx="3454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2"/>
                </a:solidFill>
              </a:rPr>
              <a:t>NO</a:t>
            </a:r>
            <a:endParaRPr lang="en-US" sz="800" b="1" dirty="0">
              <a:solidFill>
                <a:schemeClr val="accent2"/>
              </a:solidFill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3159937" y="923555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accent6"/>
                </a:solidFill>
              </a:rPr>
              <a:t>DEMAND MANAGEMENT (DEVELOPMENT)</a:t>
            </a:r>
            <a:endParaRPr lang="en-US" sz="900" b="1" dirty="0">
              <a:solidFill>
                <a:schemeClr val="accent6"/>
              </a:solidFill>
            </a:endParaRPr>
          </a:p>
        </p:txBody>
      </p:sp>
      <p:cxnSp>
        <p:nvCxnSpPr>
          <p:cNvPr id="96" name="Elbow Connector 95"/>
          <p:cNvCxnSpPr>
            <a:stCxn id="111" idx="3"/>
            <a:endCxn id="132" idx="1"/>
          </p:cNvCxnSpPr>
          <p:nvPr/>
        </p:nvCxnSpPr>
        <p:spPr>
          <a:xfrm flipV="1">
            <a:off x="2680374" y="1189369"/>
            <a:ext cx="479563" cy="3147160"/>
          </a:xfrm>
          <a:prstGeom prst="bentConnector3">
            <a:avLst>
              <a:gd name="adj1" fmla="val 63241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129" idx="3"/>
            <a:endCxn id="89" idx="1"/>
          </p:cNvCxnSpPr>
          <p:nvPr/>
        </p:nvCxnSpPr>
        <p:spPr>
          <a:xfrm flipV="1">
            <a:off x="1197832" y="1189369"/>
            <a:ext cx="459318" cy="2462622"/>
          </a:xfrm>
          <a:prstGeom prst="bentConnector3">
            <a:avLst>
              <a:gd name="adj1" fmla="val 63825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3131543" y="172010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50" b="1" dirty="0" smtClean="0">
                <a:solidFill>
                  <a:schemeClr val="accent6"/>
                </a:solidFill>
              </a:rPr>
              <a:t>DEFINE PROCESS REQUIREMENTS</a:t>
            </a:r>
            <a:endParaRPr lang="en-US" sz="950" b="1" dirty="0">
              <a:solidFill>
                <a:schemeClr val="accent6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131542" y="245582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CAPACITY MANAGEMENT (SYSTEM)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4606731" y="166301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AGILE LIFECYCLE (DEV, TEST)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4607709" y="239333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UAT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3720888" y="1462792"/>
            <a:ext cx="9256" cy="257317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53" idx="2"/>
            <a:endCxn id="154" idx="0"/>
          </p:cNvCxnSpPr>
          <p:nvPr/>
        </p:nvCxnSpPr>
        <p:spPr>
          <a:xfrm flipH="1">
            <a:off x="3721649" y="2251737"/>
            <a:ext cx="1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>
            <a:stCxn id="155" idx="2"/>
            <a:endCxn id="156" idx="0"/>
          </p:cNvCxnSpPr>
          <p:nvPr/>
        </p:nvCxnSpPr>
        <p:spPr>
          <a:xfrm>
            <a:off x="5196838" y="2194646"/>
            <a:ext cx="978" cy="19868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6172438" y="91837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ROBOT PACKAGE CREATION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6172438" y="1711359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HANDOVER FOR DEPLOYMENT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6172438" y="3382661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RELEASE PACKAGE TO PRODUCTION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6172438" y="4163700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1"/>
                </a:solidFill>
              </a:rPr>
              <a:t>HYPERCARE PHASE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cxnSp>
        <p:nvCxnSpPr>
          <p:cNvPr id="173" name="Elbow Connector 172"/>
          <p:cNvCxnSpPr>
            <a:stCxn id="156" idx="3"/>
            <a:endCxn id="168" idx="1"/>
          </p:cNvCxnSpPr>
          <p:nvPr/>
        </p:nvCxnSpPr>
        <p:spPr>
          <a:xfrm flipV="1">
            <a:off x="5787922" y="1184192"/>
            <a:ext cx="384516" cy="1474952"/>
          </a:xfrm>
          <a:prstGeom prst="bentConnector3">
            <a:avLst>
              <a:gd name="adj1" fmla="val 42568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>
            <a:stCxn id="168" idx="2"/>
            <a:endCxn id="170" idx="0"/>
          </p:cNvCxnSpPr>
          <p:nvPr/>
        </p:nvCxnSpPr>
        <p:spPr>
          <a:xfrm>
            <a:off x="6762545" y="1450006"/>
            <a:ext cx="0" cy="26135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>
            <a:stCxn id="171" idx="2"/>
            <a:endCxn id="172" idx="0"/>
          </p:cNvCxnSpPr>
          <p:nvPr/>
        </p:nvCxnSpPr>
        <p:spPr>
          <a:xfrm>
            <a:off x="6762545" y="3914289"/>
            <a:ext cx="0" cy="249411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/>
          <p:cNvSpPr/>
          <p:nvPr/>
        </p:nvSpPr>
        <p:spPr>
          <a:xfrm>
            <a:off x="7757049" y="138827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4"/>
                </a:solidFill>
              </a:rPr>
              <a:t>FULFILL SERVICE REQUEST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7768394" y="3871253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t>MONITOR HEARTBEAT OF ROBOTS</a:t>
            </a:r>
            <a:endParaRPr lang="en-US" sz="10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8192984" y="864330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Oval 191"/>
          <p:cNvSpPr/>
          <p:nvPr/>
        </p:nvSpPr>
        <p:spPr>
          <a:xfrm>
            <a:off x="596804" y="746592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3" name="Straight Arrow Connector 192"/>
          <p:cNvCxnSpPr>
            <a:stCxn id="192" idx="4"/>
            <a:endCxn id="80" idx="0"/>
          </p:cNvCxnSpPr>
          <p:nvPr/>
        </p:nvCxnSpPr>
        <p:spPr>
          <a:xfrm>
            <a:off x="750976" y="1066454"/>
            <a:ext cx="310" cy="11687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1" idx="4"/>
            <a:endCxn id="189" idx="0"/>
          </p:cNvCxnSpPr>
          <p:nvPr/>
        </p:nvCxnSpPr>
        <p:spPr>
          <a:xfrm>
            <a:off x="8347156" y="1184192"/>
            <a:ext cx="0" cy="204086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Rectangle 204"/>
          <p:cNvSpPr/>
          <p:nvPr/>
        </p:nvSpPr>
        <p:spPr>
          <a:xfrm>
            <a:off x="4606731" y="918378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CAPACITY MANAGEMENT (PEOPLE)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140037" y="324133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REQUEST FOR ACCESSES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cxnSp>
        <p:nvCxnSpPr>
          <p:cNvPr id="210" name="Elbow Connector 209"/>
          <p:cNvCxnSpPr>
            <a:stCxn id="209" idx="3"/>
            <a:endCxn id="205" idx="1"/>
          </p:cNvCxnSpPr>
          <p:nvPr/>
        </p:nvCxnSpPr>
        <p:spPr>
          <a:xfrm flipV="1">
            <a:off x="4320250" y="1184192"/>
            <a:ext cx="286481" cy="2322956"/>
          </a:xfrm>
          <a:prstGeom prst="bentConnector3">
            <a:avLst>
              <a:gd name="adj1" fmla="val 50000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Rectangle 213"/>
          <p:cNvSpPr/>
          <p:nvPr/>
        </p:nvSpPr>
        <p:spPr>
          <a:xfrm>
            <a:off x="3130781" y="3964832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6"/>
                </a:solidFill>
              </a:rPr>
              <a:t>REQUEST FOR INFRA</a:t>
            </a:r>
            <a:endParaRPr lang="en-US" sz="1000" b="1" dirty="0">
              <a:solidFill>
                <a:schemeClr val="accent6"/>
              </a:solidFill>
            </a:endParaRPr>
          </a:p>
        </p:txBody>
      </p:sp>
      <p:cxnSp>
        <p:nvCxnSpPr>
          <p:cNvPr id="220" name="Straight Arrow Connector 219"/>
          <p:cNvCxnSpPr>
            <a:stCxn id="154" idx="2"/>
            <a:endCxn id="209" idx="0"/>
          </p:cNvCxnSpPr>
          <p:nvPr/>
        </p:nvCxnSpPr>
        <p:spPr>
          <a:xfrm>
            <a:off x="3721649" y="2987451"/>
            <a:ext cx="8495" cy="25388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Arrow Connector 222"/>
          <p:cNvCxnSpPr>
            <a:stCxn id="209" idx="2"/>
            <a:endCxn id="214" idx="0"/>
          </p:cNvCxnSpPr>
          <p:nvPr/>
        </p:nvCxnSpPr>
        <p:spPr>
          <a:xfrm flipH="1">
            <a:off x="3720888" y="3772962"/>
            <a:ext cx="9256" cy="19187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55"/>
          <p:cNvCxnSpPr>
            <a:stCxn id="205" idx="2"/>
            <a:endCxn id="155" idx="0"/>
          </p:cNvCxnSpPr>
          <p:nvPr/>
        </p:nvCxnSpPr>
        <p:spPr>
          <a:xfrm>
            <a:off x="5196838" y="1450006"/>
            <a:ext cx="0" cy="213012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Elbow Connector 256"/>
          <p:cNvCxnSpPr>
            <a:endCxn id="258" idx="1"/>
          </p:cNvCxnSpPr>
          <p:nvPr/>
        </p:nvCxnSpPr>
        <p:spPr>
          <a:xfrm flipV="1">
            <a:off x="4282419" y="3024331"/>
            <a:ext cx="2274304" cy="1149166"/>
          </a:xfrm>
          <a:prstGeom prst="bentConnector3">
            <a:avLst>
              <a:gd name="adj1" fmla="val 73453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/>
          <p:cNvGrpSpPr/>
          <p:nvPr/>
        </p:nvGrpSpPr>
        <p:grpSpPr>
          <a:xfrm>
            <a:off x="6556723" y="2847856"/>
            <a:ext cx="409575" cy="352950"/>
            <a:chOff x="6544168" y="2581344"/>
            <a:chExt cx="409575" cy="352950"/>
          </a:xfrm>
        </p:grpSpPr>
        <p:sp>
          <p:nvSpPr>
            <p:cNvPr id="258" name="Diamond 257"/>
            <p:cNvSpPr/>
            <p:nvPr/>
          </p:nvSpPr>
          <p:spPr>
            <a:xfrm>
              <a:off x="6544168" y="2581344"/>
              <a:ext cx="409575" cy="352950"/>
            </a:xfrm>
            <a:prstGeom prst="diamond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604524" y="2618120"/>
              <a:ext cx="28886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cxnSp>
        <p:nvCxnSpPr>
          <p:cNvPr id="268" name="Straight Arrow Connector 267"/>
          <p:cNvCxnSpPr>
            <a:stCxn id="170" idx="2"/>
            <a:endCxn id="258" idx="0"/>
          </p:cNvCxnSpPr>
          <p:nvPr/>
        </p:nvCxnSpPr>
        <p:spPr>
          <a:xfrm flipH="1">
            <a:off x="6761511" y="2242987"/>
            <a:ext cx="1034" cy="60486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Arrow Connector 272"/>
          <p:cNvCxnSpPr>
            <a:stCxn id="258" idx="2"/>
            <a:endCxn id="171" idx="0"/>
          </p:cNvCxnSpPr>
          <p:nvPr/>
        </p:nvCxnSpPr>
        <p:spPr>
          <a:xfrm>
            <a:off x="6761511" y="3200806"/>
            <a:ext cx="1034" cy="181855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Oval 275"/>
          <p:cNvSpPr/>
          <p:nvPr/>
        </p:nvSpPr>
        <p:spPr>
          <a:xfrm>
            <a:off x="8205684" y="3307952"/>
            <a:ext cx="308344" cy="319862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7" name="Straight Arrow Connector 276"/>
          <p:cNvCxnSpPr>
            <a:stCxn id="276" idx="4"/>
            <a:endCxn id="190" idx="0"/>
          </p:cNvCxnSpPr>
          <p:nvPr/>
        </p:nvCxnSpPr>
        <p:spPr>
          <a:xfrm flipH="1">
            <a:off x="8358501" y="3627814"/>
            <a:ext cx="1355" cy="24343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Oval 278"/>
          <p:cNvSpPr/>
          <p:nvPr/>
        </p:nvSpPr>
        <p:spPr>
          <a:xfrm>
            <a:off x="8196430" y="2260749"/>
            <a:ext cx="308344" cy="31986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0" name="Elbow Connector 279"/>
          <p:cNvCxnSpPr>
            <a:stCxn id="172" idx="3"/>
            <a:endCxn id="279" idx="2"/>
          </p:cNvCxnSpPr>
          <p:nvPr/>
        </p:nvCxnSpPr>
        <p:spPr>
          <a:xfrm flipV="1">
            <a:off x="7352651" y="2420680"/>
            <a:ext cx="843779" cy="2008834"/>
          </a:xfrm>
          <a:prstGeom prst="bentConnector3">
            <a:avLst>
              <a:gd name="adj1" fmla="val 25165"/>
            </a:avLst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Arrow Connector 285"/>
          <p:cNvCxnSpPr>
            <a:stCxn id="189" idx="2"/>
            <a:endCxn id="279" idx="0"/>
          </p:cNvCxnSpPr>
          <p:nvPr/>
        </p:nvCxnSpPr>
        <p:spPr>
          <a:xfrm>
            <a:off x="8347156" y="1919906"/>
            <a:ext cx="3446" cy="340843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tangle 287"/>
          <p:cNvSpPr/>
          <p:nvPr/>
        </p:nvSpPr>
        <p:spPr>
          <a:xfrm>
            <a:off x="7647303" y="258495"/>
            <a:ext cx="1422400" cy="469900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t>OPERATION</a:t>
            </a:r>
            <a:endParaRPr lang="en-US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768394" y="1397204"/>
            <a:ext cx="1180213" cy="5316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accent4">
                    <a:lumMod val="40000"/>
                    <a:lumOff val="60000"/>
                  </a:schemeClr>
                </a:solidFill>
              </a:rPr>
              <a:t>FULFILL SERVICE REQUEST</a:t>
            </a:r>
            <a:endParaRPr lang="en-US" sz="10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1089339" y="3426841"/>
            <a:ext cx="4370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YES</a:t>
            </a:r>
            <a:endParaRPr lang="en-US" sz="800" b="1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11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28"/>
          <p:cNvSpPr/>
          <p:nvPr/>
        </p:nvSpPr>
        <p:spPr>
          <a:xfrm>
            <a:off x="1068936" y="0"/>
            <a:ext cx="608782" cy="5143500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28" name="Google Shape;228;p28"/>
          <p:cNvGrpSpPr/>
          <p:nvPr/>
        </p:nvGrpSpPr>
        <p:grpSpPr>
          <a:xfrm>
            <a:off x="1" y="606173"/>
            <a:ext cx="5527496" cy="862441"/>
            <a:chOff x="1" y="707962"/>
            <a:chExt cx="7970291" cy="1630907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29" name="Google Shape;229;p28"/>
            <p:cNvSpPr/>
            <p:nvPr/>
          </p:nvSpPr>
          <p:spPr>
            <a:xfrm>
              <a:off x="2430999" y="1189024"/>
              <a:ext cx="5539293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Governance </a:t>
              </a:r>
              <a:r>
                <a:rPr lang="en-US" sz="1350" b="1" dirty="0">
                  <a:solidFill>
                    <a:srgbClr val="FFFFFF"/>
                  </a:solidFill>
                </a:rPr>
                <a:t>Model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28"/>
            <p:cNvSpPr/>
            <p:nvPr/>
          </p:nvSpPr>
          <p:spPr>
            <a:xfrm>
              <a:off x="1" y="1189023"/>
              <a:ext cx="1542190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1" name="Google Shape;231;p28"/>
            <p:cNvGrpSpPr/>
            <p:nvPr/>
          </p:nvGrpSpPr>
          <p:grpSpPr>
            <a:xfrm>
              <a:off x="1299942" y="70796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32" name="Google Shape;232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33" name="Google Shape;233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4" name="Google Shape;234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5" name="Google Shape;235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1</a:t>
                </a:r>
                <a:endParaRPr sz="1050" dirty="0"/>
              </a:p>
            </p:txBody>
          </p:sp>
        </p:grpSp>
      </p:grpSp>
      <p:grpSp>
        <p:nvGrpSpPr>
          <p:cNvPr id="236" name="Google Shape;236;p28"/>
          <p:cNvGrpSpPr/>
          <p:nvPr/>
        </p:nvGrpSpPr>
        <p:grpSpPr>
          <a:xfrm>
            <a:off x="1" y="1480057"/>
            <a:ext cx="5527496" cy="862441"/>
            <a:chOff x="1" y="2560623"/>
            <a:chExt cx="7970291" cy="1630907"/>
          </a:xfrm>
        </p:grpSpPr>
        <p:sp>
          <p:nvSpPr>
            <p:cNvPr id="237" name="Google Shape;237;p28"/>
            <p:cNvSpPr/>
            <p:nvPr/>
          </p:nvSpPr>
          <p:spPr>
            <a:xfrm>
              <a:off x="2430999" y="3041685"/>
              <a:ext cx="5539293" cy="1149845"/>
            </a:xfrm>
            <a:prstGeom prst="homePlate">
              <a:avLst>
                <a:gd name="adj" fmla="val 50000"/>
              </a:avLst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Overview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Google Shape;238;p28"/>
            <p:cNvSpPr/>
            <p:nvPr/>
          </p:nvSpPr>
          <p:spPr>
            <a:xfrm>
              <a:off x="1" y="3041684"/>
              <a:ext cx="1542190" cy="1149845"/>
            </a:xfrm>
            <a:prstGeom prst="rect">
              <a:avLst/>
            </a:prstGeom>
            <a:gradFill>
              <a:gsLst>
                <a:gs pos="0">
                  <a:srgbClr val="005E91"/>
                </a:gs>
                <a:gs pos="50000">
                  <a:srgbClr val="0089D2"/>
                </a:gs>
                <a:gs pos="100000">
                  <a:srgbClr val="00A5FC"/>
                </a:gs>
              </a:gsLst>
              <a:lin ang="10800000" scaled="0"/>
            </a:gradFill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39" name="Google Shape;239;p28"/>
            <p:cNvGrpSpPr/>
            <p:nvPr/>
          </p:nvGrpSpPr>
          <p:grpSpPr>
            <a:xfrm>
              <a:off x="1299942" y="2560623"/>
              <a:ext cx="1373307" cy="1630907"/>
              <a:chOff x="1333213" y="283213"/>
              <a:chExt cx="1373307" cy="1630907"/>
            </a:xfrm>
          </p:grpSpPr>
          <p:grpSp>
            <p:nvGrpSpPr>
              <p:cNvPr id="240" name="Google Shape;240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</p:grpSpPr>
            <p:sp>
              <p:nvSpPr>
                <p:cNvPr id="241" name="Google Shape;241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2" name="Google Shape;242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solidFill>
                  <a:srgbClr val="0077B0"/>
                </a:solidFill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43" name="Google Shape;243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>
                    <a:solidFill>
                      <a:srgbClr val="FFFFFF"/>
                    </a:solidFill>
                  </a:rPr>
                  <a:t>02</a:t>
                </a:r>
                <a:endParaRPr sz="1050"/>
              </a:p>
            </p:txBody>
          </p:sp>
        </p:grpSp>
      </p:grpSp>
      <p:grpSp>
        <p:nvGrpSpPr>
          <p:cNvPr id="244" name="Google Shape;244;p28"/>
          <p:cNvGrpSpPr/>
          <p:nvPr/>
        </p:nvGrpSpPr>
        <p:grpSpPr>
          <a:xfrm>
            <a:off x="1" y="2353939"/>
            <a:ext cx="5527496" cy="862442"/>
            <a:chOff x="1" y="4723842"/>
            <a:chExt cx="7970291" cy="1630908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45" name="Google Shape;245;p28"/>
            <p:cNvSpPr/>
            <p:nvPr/>
          </p:nvSpPr>
          <p:spPr>
            <a:xfrm>
              <a:off x="2430145" y="5204905"/>
              <a:ext cx="5540147" cy="1149845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Demand Management Concepts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Google Shape;246;p28"/>
            <p:cNvSpPr/>
            <p:nvPr/>
          </p:nvSpPr>
          <p:spPr>
            <a:xfrm>
              <a:off x="1" y="5204904"/>
              <a:ext cx="1541336" cy="1149845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47" name="Google Shape;247;p28"/>
            <p:cNvGrpSpPr/>
            <p:nvPr/>
          </p:nvGrpSpPr>
          <p:grpSpPr>
            <a:xfrm>
              <a:off x="1299088" y="4723842"/>
              <a:ext cx="1373307" cy="1630907"/>
              <a:chOff x="1333213" y="283213"/>
              <a:chExt cx="1373307" cy="1630907"/>
            </a:xfrm>
            <a:grpFill/>
          </p:grpSpPr>
          <p:grpSp>
            <p:nvGrpSpPr>
              <p:cNvPr id="248" name="Google Shape;248;p28"/>
              <p:cNvGrpSpPr/>
              <p:nvPr/>
            </p:nvGrpSpPr>
            <p:grpSpPr>
              <a:xfrm>
                <a:off x="1333213" y="1647988"/>
                <a:ext cx="1373307" cy="266132"/>
                <a:chOff x="1333208" y="1624082"/>
                <a:chExt cx="1373307" cy="266132"/>
              </a:xfrm>
              <a:grpFill/>
            </p:grpSpPr>
            <p:sp>
              <p:nvSpPr>
                <p:cNvPr id="249" name="Google Shape;249;p28"/>
                <p:cNvSpPr/>
                <p:nvPr/>
              </p:nvSpPr>
              <p:spPr>
                <a:xfrm rot="10800000" flipH="1">
                  <a:off x="2464266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50" name="Google Shape;250;p28"/>
                <p:cNvSpPr/>
                <p:nvPr/>
              </p:nvSpPr>
              <p:spPr>
                <a:xfrm rot="10800000">
                  <a:off x="1333208" y="1624082"/>
                  <a:ext cx="242249" cy="266132"/>
                </a:xfrm>
                <a:prstGeom prst="rtTriangle">
                  <a:avLst/>
                </a:prstGeom>
                <a:grpFill/>
                <a:ln>
                  <a:noFill/>
                </a:ln>
              </p:spPr>
              <p:txBody>
                <a:bodyPr spcFirstLastPara="1" wrap="square" lIns="68569" tIns="34275" rIns="68569" bIns="34275" anchor="ctr" anchorCtr="0">
                  <a:noAutofit/>
                </a:bodyPr>
                <a:lstStyle/>
                <a:p>
                  <a:pPr algn="ctr"/>
                  <a:endParaRPr sz="45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51" name="Google Shape;251;p28"/>
              <p:cNvSpPr/>
              <p:nvPr/>
            </p:nvSpPr>
            <p:spPr>
              <a:xfrm>
                <a:off x="1334066" y="283213"/>
                <a:ext cx="1371600" cy="137160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r>
                  <a:rPr lang="en-US" sz="4500" b="1" dirty="0">
                    <a:solidFill>
                      <a:srgbClr val="FFFFFF"/>
                    </a:solidFill>
                  </a:rPr>
                  <a:t>03</a:t>
                </a:r>
                <a:endParaRPr sz="1050" dirty="0"/>
              </a:p>
            </p:txBody>
          </p:sp>
        </p:grpSp>
      </p:grpSp>
      <p:sp>
        <p:nvSpPr>
          <p:cNvPr id="252" name="Google Shape;252;p28"/>
          <p:cNvSpPr/>
          <p:nvPr/>
        </p:nvSpPr>
        <p:spPr>
          <a:xfrm>
            <a:off x="5357102" y="8605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Google Shape;253;p28"/>
          <p:cNvSpPr/>
          <p:nvPr/>
        </p:nvSpPr>
        <p:spPr>
          <a:xfrm>
            <a:off x="5357102" y="17523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28"/>
          <p:cNvSpPr/>
          <p:nvPr/>
        </p:nvSpPr>
        <p:spPr>
          <a:xfrm>
            <a:off x="5357102" y="2616174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9;p14"/>
          <p:cNvSpPr txBox="1">
            <a:spLocks/>
          </p:cNvSpPr>
          <p:nvPr/>
        </p:nvSpPr>
        <p:spPr>
          <a:xfrm>
            <a:off x="1769336" y="85026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RSE OUTLINE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" y="3235273"/>
            <a:ext cx="5527496" cy="862441"/>
            <a:chOff x="1" y="3235273"/>
            <a:chExt cx="5527496" cy="862441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59" name="Google Shape;229;p28"/>
            <p:cNvSpPr/>
            <p:nvPr/>
          </p:nvSpPr>
          <p:spPr>
            <a:xfrm>
              <a:off x="1685928" y="3489664"/>
              <a:ext cx="3841569" cy="608050"/>
            </a:xfrm>
            <a:prstGeom prst="homePlate">
              <a:avLst>
                <a:gd name="adj" fmla="val 50000"/>
              </a:avLst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marL="296466"/>
              <a:r>
                <a:rPr lang="en-US" sz="1350" b="1" dirty="0" smtClean="0">
                  <a:solidFill>
                    <a:srgbClr val="FFFFFF"/>
                  </a:solidFill>
                </a:rPr>
                <a:t>Tools Orientation</a:t>
              </a:r>
              <a:endParaRPr sz="135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0;p28"/>
            <p:cNvSpPr/>
            <p:nvPr/>
          </p:nvSpPr>
          <p:spPr>
            <a:xfrm>
              <a:off x="1" y="3489663"/>
              <a:ext cx="1069528" cy="608050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13500000" algn="br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62" name="Google Shape;232;p28"/>
            <p:cNvGrpSpPr/>
            <p:nvPr/>
          </p:nvGrpSpPr>
          <p:grpSpPr>
            <a:xfrm>
              <a:off x="901526" y="3956981"/>
              <a:ext cx="952405" cy="140733"/>
              <a:chOff x="1333208" y="1624082"/>
              <a:chExt cx="1373307" cy="266132"/>
            </a:xfrm>
            <a:grpFill/>
          </p:grpSpPr>
          <p:sp>
            <p:nvSpPr>
              <p:cNvPr id="64" name="Google Shape;233;p28"/>
              <p:cNvSpPr/>
              <p:nvPr/>
            </p:nvSpPr>
            <p:spPr>
              <a:xfrm rot="10800000" flipH="1">
                <a:off x="2464266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Google Shape;234;p28"/>
              <p:cNvSpPr/>
              <p:nvPr/>
            </p:nvSpPr>
            <p:spPr>
              <a:xfrm rot="10800000">
                <a:off x="1333208" y="1624082"/>
                <a:ext cx="242249" cy="266132"/>
              </a:xfrm>
              <a:prstGeom prst="rtTriangle">
                <a:avLst/>
              </a:prstGeom>
              <a:grpFill/>
              <a:ln>
                <a:noFill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/>
                <a:endParaRPr sz="4500" b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3" name="Google Shape;235;p28"/>
            <p:cNvSpPr/>
            <p:nvPr/>
          </p:nvSpPr>
          <p:spPr>
            <a:xfrm>
              <a:off x="902118" y="3235273"/>
              <a:ext cx="951221" cy="725317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r>
                <a:rPr lang="en-US" sz="4500" b="1" dirty="0" smtClean="0">
                  <a:solidFill>
                    <a:srgbClr val="FFFFFF"/>
                  </a:solidFill>
                </a:rPr>
                <a:t>04</a:t>
              </a:r>
              <a:endParaRPr sz="1050" dirty="0"/>
            </a:p>
          </p:txBody>
        </p:sp>
      </p:grpSp>
      <p:sp>
        <p:nvSpPr>
          <p:cNvPr id="67" name="Google Shape;237;p28"/>
          <p:cNvSpPr/>
          <p:nvPr/>
        </p:nvSpPr>
        <p:spPr>
          <a:xfrm>
            <a:off x="1685928" y="4363548"/>
            <a:ext cx="3841569" cy="608050"/>
          </a:xfrm>
          <a:prstGeom prst="homePlate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296466"/>
            <a:r>
              <a:rPr lang="en-US" sz="1350" b="1" dirty="0" smtClean="0">
                <a:solidFill>
                  <a:srgbClr val="FFFFFF"/>
                </a:solidFill>
              </a:rPr>
              <a:t>Exam</a:t>
            </a:r>
            <a:endParaRPr sz="1350" b="1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238;p28"/>
          <p:cNvSpPr/>
          <p:nvPr/>
        </p:nvSpPr>
        <p:spPr>
          <a:xfrm>
            <a:off x="1" y="4363547"/>
            <a:ext cx="1069528" cy="608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240;p28"/>
          <p:cNvGrpSpPr/>
          <p:nvPr/>
        </p:nvGrpSpPr>
        <p:grpSpPr>
          <a:xfrm>
            <a:off x="901526" y="4830865"/>
            <a:ext cx="952405" cy="140733"/>
            <a:chOff x="1333208" y="1624082"/>
            <a:chExt cx="1373307" cy="26613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72" name="Google Shape;241;p28"/>
            <p:cNvSpPr/>
            <p:nvPr/>
          </p:nvSpPr>
          <p:spPr>
            <a:xfrm rot="10800000" flipH="1">
              <a:off x="2464266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  <p:sp>
          <p:nvSpPr>
            <p:cNvPr id="73" name="Google Shape;242;p28"/>
            <p:cNvSpPr/>
            <p:nvPr/>
          </p:nvSpPr>
          <p:spPr>
            <a:xfrm rot="10800000">
              <a:off x="1333208" y="1624082"/>
              <a:ext cx="242249" cy="266132"/>
            </a:xfrm>
            <a:prstGeom prst="rtTriangle">
              <a:avLst/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4500" b="1">
                <a:solidFill>
                  <a:srgbClr val="FFFFFF"/>
                </a:solidFill>
              </a:endParaRPr>
            </a:p>
          </p:txBody>
        </p:sp>
      </p:grpSp>
      <p:sp>
        <p:nvSpPr>
          <p:cNvPr id="71" name="Google Shape;243;p28"/>
          <p:cNvSpPr/>
          <p:nvPr/>
        </p:nvSpPr>
        <p:spPr>
          <a:xfrm>
            <a:off x="902118" y="4109157"/>
            <a:ext cx="951221" cy="7253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4500" b="1" dirty="0" smtClean="0">
                <a:solidFill>
                  <a:srgbClr val="FFFFFF"/>
                </a:solidFill>
              </a:rPr>
              <a:t>05</a:t>
            </a:r>
            <a:endParaRPr sz="1050" dirty="0"/>
          </a:p>
        </p:txBody>
      </p:sp>
      <p:sp>
        <p:nvSpPr>
          <p:cNvPr id="74" name="Google Shape;252;p28"/>
          <p:cNvSpPr/>
          <p:nvPr/>
        </p:nvSpPr>
        <p:spPr>
          <a:xfrm>
            <a:off x="5357102" y="348966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Google Shape;253;p28"/>
          <p:cNvSpPr/>
          <p:nvPr/>
        </p:nvSpPr>
        <p:spPr>
          <a:xfrm>
            <a:off x="5357102" y="4381452"/>
            <a:ext cx="2105346" cy="608051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18900000" algn="bl" rotWithShape="0">
              <a:srgbClr val="000000">
                <a:alpha val="40000"/>
              </a:srgbClr>
            </a:out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35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012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Aron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A186"/>
      </a:accent1>
      <a:accent2>
        <a:srgbClr val="F39C11"/>
      </a:accent2>
      <a:accent3>
        <a:srgbClr val="FF0000"/>
      </a:accent3>
      <a:accent4>
        <a:srgbClr val="7030A0"/>
      </a:accent4>
      <a:accent5>
        <a:srgbClr val="009FEB"/>
      </a:accent5>
      <a:accent6>
        <a:srgbClr val="6EA92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Mix-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F2600"/>
      </a:accent1>
      <a:accent2>
        <a:srgbClr val="FFC801"/>
      </a:accent2>
      <a:accent3>
        <a:srgbClr val="ABD100"/>
      </a:accent3>
      <a:accent4>
        <a:srgbClr val="00B69F"/>
      </a:accent4>
      <a:accent5>
        <a:srgbClr val="00C9F3"/>
      </a:accent5>
      <a:accent6>
        <a:srgbClr val="8B8ED1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8" id="{52E2D4CE-1013-439E-8533-4CC7874E7596}" vid="{E32191D4-F868-4077-9C9D-42D0FAE779B7}"/>
    </a:ext>
  </a:extLst>
</a:theme>
</file>

<file path=ppt/theme/theme6.xml><?xml version="1.0" encoding="utf-8"?>
<a:theme xmlns:a="http://schemas.openxmlformats.org/drawingml/2006/main" name="Template PresentationGo Dark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79</TotalTime>
  <Words>1724</Words>
  <Application>Microsoft Office PowerPoint</Application>
  <PresentationFormat>On-screen Show (16:9)</PresentationFormat>
  <Paragraphs>1028</Paragraphs>
  <Slides>41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1</vt:i4>
      </vt:variant>
    </vt:vector>
  </HeadingPairs>
  <TitlesOfParts>
    <vt:vector size="58" baseType="lpstr">
      <vt:lpstr>Arial</vt:lpstr>
      <vt:lpstr>Calibri</vt:lpstr>
      <vt:lpstr>Calibri Light</vt:lpstr>
      <vt:lpstr>Helvetica</vt:lpstr>
      <vt:lpstr>Open Sans</vt:lpstr>
      <vt:lpstr>Playfair Display</vt:lpstr>
      <vt:lpstr>Soho Gothic Pro</vt:lpstr>
      <vt:lpstr>Soho Gothic Pro Light</vt:lpstr>
      <vt:lpstr>Wingdings</vt:lpstr>
      <vt:lpstr>Simple Light</vt:lpstr>
      <vt:lpstr>Office Theme</vt:lpstr>
      <vt:lpstr>Template PresentationGo</vt:lpstr>
      <vt:lpstr>1_Office Theme</vt:lpstr>
      <vt:lpstr>Portadas</vt:lpstr>
      <vt:lpstr>Template PresentationGo Dark</vt:lpstr>
      <vt:lpstr>Diapositiva de think-cell</vt:lpstr>
      <vt:lpstr>think-cell Slide</vt:lpstr>
      <vt:lpstr>PowerPoint Presentation</vt:lpstr>
      <vt:lpstr>HOUSE RULES</vt:lpstr>
      <vt:lpstr>OBJECT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oles &amp; Responsibil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rizontal Level Flat Funnels for PowerPoint</vt:lpstr>
      <vt:lpstr>PowerPoint Presentation</vt:lpstr>
      <vt:lpstr>PowerPoint Presentation</vt:lpstr>
      <vt:lpstr>PowerPoint Presentation</vt:lpstr>
      <vt:lpstr>PowerPoint Presentation</vt:lpstr>
      <vt:lpstr>DEMAND MANAGEMENT TO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CESS EXCEPTION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NGSON, Engelbert R</dc:creator>
  <cp:lastModifiedBy>Desiree Tablante</cp:lastModifiedBy>
  <cp:revision>228</cp:revision>
  <dcterms:modified xsi:type="dcterms:W3CDTF">2019-12-18T02:51:03Z</dcterms:modified>
</cp:coreProperties>
</file>